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7" r:id="rId2"/>
    <p:sldId id="259" r:id="rId3"/>
    <p:sldId id="261" r:id="rId4"/>
    <p:sldId id="258" r:id="rId5"/>
    <p:sldId id="277" r:id="rId6"/>
    <p:sldId id="276" r:id="rId7"/>
    <p:sldId id="260" r:id="rId8"/>
    <p:sldId id="273" r:id="rId9"/>
    <p:sldId id="275" r:id="rId10"/>
    <p:sldId id="262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62626"/>
    <a:srgbClr val="FFFBEF"/>
    <a:srgbClr val="FFC000"/>
    <a:srgbClr val="000000"/>
    <a:srgbClr val="3F3F3F"/>
    <a:srgbClr val="5C5C5C"/>
    <a:srgbClr val="EFC94C"/>
    <a:srgbClr val="1A2530"/>
    <a:srgbClr val="DF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853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54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t>11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t>11/1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190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368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7623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120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414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727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9432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18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65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4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1398461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3" r:id="rId3"/>
    <p:sldLayoutId id="2147483666" r:id="rId4"/>
    <p:sldLayoutId id="2147483668" r:id="rId5"/>
    <p:sldLayoutId id="2147483664" r:id="rId6"/>
    <p:sldLayoutId id="2147483667" r:id="rId7"/>
    <p:sldLayoutId id="2147483665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microsoft.com/office/2017/06/relationships/model3d" Target="../media/model3d1.glb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9.xml"/><Relationship Id="rId7" Type="http://schemas.microsoft.com/office/2017/06/relationships/model3d" Target="../media/model3d2.glb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hyperlink" Target="https://ebook.waka.vn/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20803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" y="-11289"/>
            <a:ext cx="779779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797800" y="-22578"/>
            <a:ext cx="4394200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2" name="Straight Connector 61"/>
          <p:cNvCxnSpPr/>
          <p:nvPr/>
        </p:nvCxnSpPr>
        <p:spPr>
          <a:xfrm>
            <a:off x="7797800" y="-22578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129507" y="1752117"/>
            <a:ext cx="3967160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6" name="Content Placeholder 15"/>
          <p:cNvSpPr txBox="1">
            <a:spLocks/>
          </p:cNvSpPr>
          <p:nvPr/>
        </p:nvSpPr>
        <p:spPr>
          <a:xfrm>
            <a:off x="8224841" y="1460989"/>
            <a:ext cx="3967160" cy="46166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vi-VN" b="1" i="0" dirty="0" err="1">
                <a:solidFill>
                  <a:srgbClr val="292929"/>
                </a:solidFill>
                <a:effectLst/>
                <a:latin typeface="Poppins-SVN"/>
              </a:rPr>
              <a:t>Sách</a:t>
            </a:r>
            <a:r>
              <a:rPr lang="vi-VN" b="1" i="0" dirty="0">
                <a:solidFill>
                  <a:srgbClr val="292929"/>
                </a:solidFill>
                <a:effectLst/>
                <a:latin typeface="Poppins-SVN"/>
              </a:rPr>
              <a:t> </a:t>
            </a:r>
            <a:r>
              <a:rPr lang="vi-VN" b="1" i="0" dirty="0" err="1">
                <a:solidFill>
                  <a:srgbClr val="292929"/>
                </a:solidFill>
                <a:effectLst/>
                <a:latin typeface="Poppins-SVN"/>
              </a:rPr>
              <a:t>giấy</a:t>
            </a:r>
            <a:r>
              <a:rPr lang="vi-VN" b="1" i="0" dirty="0">
                <a:solidFill>
                  <a:srgbClr val="292929"/>
                </a:solidFill>
                <a:effectLst/>
                <a:latin typeface="Poppins-SVN"/>
              </a:rPr>
              <a:t> </a:t>
            </a:r>
            <a:r>
              <a:rPr lang="vi-VN" b="1" i="0" dirty="0" err="1">
                <a:solidFill>
                  <a:srgbClr val="292929"/>
                </a:solidFill>
                <a:effectLst/>
                <a:latin typeface="Poppins-SVN"/>
              </a:rPr>
              <a:t>và</a:t>
            </a:r>
            <a:r>
              <a:rPr lang="vi-VN" b="1" i="0" dirty="0">
                <a:solidFill>
                  <a:srgbClr val="292929"/>
                </a:solidFill>
                <a:effectLst/>
                <a:latin typeface="Poppins-SVN"/>
              </a:rPr>
              <a:t> </a:t>
            </a:r>
            <a:r>
              <a:rPr lang="vi-VN" b="1" i="0" dirty="0" err="1">
                <a:solidFill>
                  <a:srgbClr val="292929"/>
                </a:solidFill>
                <a:effectLst/>
                <a:latin typeface="Poppins-SVN"/>
              </a:rPr>
              <a:t>sách</a:t>
            </a:r>
            <a:r>
              <a:rPr lang="vi-VN" b="1" i="0" dirty="0">
                <a:solidFill>
                  <a:srgbClr val="292929"/>
                </a:solidFill>
                <a:effectLst/>
                <a:latin typeface="Poppins-SVN"/>
              </a:rPr>
              <a:t> </a:t>
            </a:r>
            <a:r>
              <a:rPr lang="vi-VN" b="1" i="0" dirty="0" err="1">
                <a:solidFill>
                  <a:srgbClr val="292929"/>
                </a:solidFill>
                <a:effectLst/>
                <a:latin typeface="Poppins-SVN"/>
              </a:rPr>
              <a:t>điện</a:t>
            </a:r>
            <a:r>
              <a:rPr lang="vi-VN" b="1" i="0" dirty="0">
                <a:solidFill>
                  <a:srgbClr val="292929"/>
                </a:solidFill>
                <a:effectLst/>
                <a:latin typeface="Poppins-SVN"/>
              </a:rPr>
              <a:t> </a:t>
            </a:r>
            <a:r>
              <a:rPr lang="vi-VN" b="1" i="0" dirty="0" err="1">
                <a:solidFill>
                  <a:srgbClr val="292929"/>
                </a:solidFill>
                <a:effectLst/>
                <a:latin typeface="Poppins-SVN"/>
              </a:rPr>
              <a:t>tử</a:t>
            </a:r>
            <a:endParaRPr lang="vi-VN" b="1" i="0" dirty="0">
              <a:solidFill>
                <a:srgbClr val="292929"/>
              </a:solidFill>
              <a:effectLst/>
              <a:latin typeface="Poppins-SVN"/>
            </a:endParaRPr>
          </a:p>
          <a:p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0474624" y="1337424"/>
            <a:ext cx="6421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Kiểu 3D 2" descr="Book">
                <a:extLst>
                  <a:ext uri="{FF2B5EF4-FFF2-40B4-BE49-F238E27FC236}">
                    <a16:creationId xmlns:a16="http://schemas.microsoft.com/office/drawing/2014/main" id="{99307AFD-F91F-7251-8654-E13878F3E6B2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5094984"/>
                  </p:ext>
                </p:extLst>
              </p:nvPr>
            </p:nvGraphicFramePr>
            <p:xfrm>
              <a:off x="598986" y="846160"/>
              <a:ext cx="5609229" cy="4189863"/>
            </p:xfrm>
            <a:graphic>
              <a:graphicData uri="http://schemas.microsoft.com/office/drawing/2017/model3d">
                <am3d:model3d r:embed="rId7">
                  <am3d:spPr>
                    <a:xfrm>
                      <a:off x="0" y="0"/>
                      <a:ext cx="5609229" cy="4189863"/>
                    </a:xfrm>
                    <a:prstGeom prst="rect">
                      <a:avLst/>
                    </a:prstGeom>
                  </am3d:spPr>
                  <am3d:camera>
                    <am3d:pos x="0" y="0" z="67420962"/>
                    <am3d:up dx="0" dy="36000000" dz="0"/>
                    <am3d:lookAt x="0" y="0" z="0"/>
                    <am3d:perspective fov="2464511"/>
                  </am3d:camera>
                  <am3d:trans>
                    <am3d:meterPerModelUnit n="15965600" d="1000000"/>
                    <am3d:preTrans dx="-3" dy="-5792354" dz="2330489"/>
                    <am3d:scale>
                      <am3d:sx n="1000000" d="1000000"/>
                      <am3d:sy n="1000000" d="1000000"/>
                      <am3d:sz n="1000000" d="1000000"/>
                    </am3d:scale>
                    <am3d:rot ax="2687435" ay="-823209" az="-794951"/>
                    <am3d:postTrans dx="0" dy="0" dz="0"/>
                  </am3d:trans>
                  <am3d:raster rName="Office3DRenderer" rVer="16.0.8326">
                    <am3d:blip r:embed="rId8"/>
                  </am3d:raster>
                  <am3d:winViewport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Kiểu 3D 2" descr="Book">
                <a:extLst>
                  <a:ext uri="{FF2B5EF4-FFF2-40B4-BE49-F238E27FC236}">
                    <a16:creationId xmlns:a16="http://schemas.microsoft.com/office/drawing/2014/main" id="{99307AFD-F91F-7251-8654-E13878F3E6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98986" y="846160"/>
                <a:ext cx="5609229" cy="418986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4914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0" presetClass="entr" presetSubtype="1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sum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20"/>
                                          </p:val>
                                        </p:tav>
                                        <p:tav tm="3330">
                                          <p:val>
                                            <p:fltVal val="-19.9349"/>
                                          </p:val>
                                        </p:tav>
                                        <p:tav tm="6660">
                                          <p:val>
                                            <p:fltVal val="-19.7456"/>
                                          </p:val>
                                        </p:tav>
                                        <p:tav tm="9990">
                                          <p:val>
                                            <p:fltVal val="-19.441"/>
                                          </p:val>
                                        </p:tav>
                                        <p:tav tm="13320">
                                          <p:val>
                                            <p:fltVal val="-19.0299"/>
                                          </p:val>
                                        </p:tav>
                                        <p:tav tm="16650">
                                          <p:val>
                                            <p:fltVal val="-18.5212"/>
                                          </p:val>
                                        </p:tav>
                                        <p:tav tm="19970">
                                          <p:val>
                                            <p:fltVal val="-17.9257"/>
                                          </p:val>
                                        </p:tav>
                                        <p:tav tm="23290">
                                          <p:val>
                                            <p:fltVal val="-17.2507"/>
                                          </p:val>
                                        </p:tav>
                                        <p:tav tm="26620">
                                          <p:val>
                                            <p:fltVal val="-16.5027"/>
                                          </p:val>
                                        </p:tav>
                                        <p:tav tm="29950">
                                          <p:val>
                                            <p:fltVal val="-15.6925"/>
                                          </p:val>
                                        </p:tav>
                                        <p:tav tm="33280">
                                          <p:val>
                                            <p:fltVal val="-14.829"/>
                                          </p:val>
                                        </p:tav>
                                        <p:tav tm="36610">
                                          <p:val>
                                            <p:fltVal val="-13.9209"/>
                                          </p:val>
                                        </p:tav>
                                        <p:tav tm="39940">
                                          <p:val>
                                            <p:fltVal val="-12.9772"/>
                                          </p:val>
                                        </p:tav>
                                        <p:tav tm="43270">
                                          <p:val>
                                            <p:fltVal val="-12.0068"/>
                                          </p:val>
                                        </p:tav>
                                        <p:tav tm="46600">
                                          <p:val>
                                            <p:fltVal val="-11.0184"/>
                                          </p:val>
                                        </p:tav>
                                        <p:tav tm="49930">
                                          <p:val>
                                            <p:fltVal val="-10.0209"/>
                                          </p:val>
                                        </p:tav>
                                        <p:tav tm="53250">
                                          <p:val>
                                            <p:fltVal val="-9.0263"/>
                                          </p:val>
                                        </p:tav>
                                        <p:tav tm="56580">
                                          <p:val>
                                            <p:fltVal val="-8.0373"/>
                                          </p:val>
                                        </p:tav>
                                        <p:tav tm="59900">
                                          <p:val>
                                            <p:fltVal val="-7.0688"/>
                                          </p:val>
                                        </p:tav>
                                        <p:tav tm="63220">
                                          <p:val>
                                            <p:fltVal val="-6.1264"/>
                                          </p:val>
                                        </p:tav>
                                        <p:tav tm="66540">
                                          <p:val>
                                            <p:fltVal val="-5.2189"/>
                                          </p:val>
                                        </p:tav>
                                        <p:tav tm="69870">
                                          <p:val>
                                            <p:fltVal val="-4.3528"/>
                                          </p:val>
                                        </p:tav>
                                        <p:tav tm="73190">
                                          <p:val>
                                            <p:fltVal val="-3.5418"/>
                                          </p:val>
                                        </p:tav>
                                        <p:tav tm="76510">
                                          <p:val>
                                            <p:fltVal val="-2.7922"/>
                                          </p:val>
                                        </p:tav>
                                        <p:tav tm="79830">
                                          <p:val>
                                            <p:fltVal val="-2.1127"/>
                                          </p:val>
                                        </p:tav>
                                        <p:tav tm="83160">
                                          <p:val>
                                            <p:fltVal val="-1.5104"/>
                                          </p:val>
                                        </p:tav>
                                        <p:tav tm="86480">
                                          <p:val>
                                            <p:fltVal val="-0.9978"/>
                                          </p:val>
                                        </p:tav>
                                        <p:tav tm="89800">
                                          <p:val>
                                            <p:fltVal val="-0.5817"/>
                                          </p:val>
                                        </p:tav>
                                        <p:tav tm="93120">
                                          <p:val>
                                            <p:fltVal val="-0.2709"/>
                                          </p:val>
                                        </p:tav>
                                        <p:tav tm="96450">
                                          <p:val>
                                            <p:fltVal val="-0.0738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object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object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object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8" presetClass="emph" presetSubtype="128" accel="20000" decel="2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15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6.9747"/>
                                          </p:val>
                                        </p:tav>
                                        <p:tav tm="6660">
                                          <p:val>
                                            <p:fltVal val="12.1039"/>
                                          </p:val>
                                        </p:tav>
                                        <p:tav tm="9990">
                                          <p:val>
                                            <p:fltVal val="15.6713"/>
                                          </p:val>
                                        </p:tav>
                                        <p:tav tm="13320">
                                          <p:val>
                                            <p:fltVal val="17.9604"/>
                                          </p:val>
                                        </p:tav>
                                        <p:tav tm="16650">
                                          <p:val>
                                            <p:fltVal val="19.2548"/>
                                          </p:val>
                                        </p:tav>
                                        <p:tav tm="19970">
                                          <p:val>
                                            <p:fltVal val="19.8371"/>
                                          </p:val>
                                        </p:tav>
                                        <p:tav tm="23290">
                                          <p:val>
                                            <p:fltVal val="19.9936"/>
                                          </p:val>
                                        </p:tav>
                                        <p:tav tm="26620">
                                          <p:val>
                                            <p:fltVal val="19.9945"/>
                                          </p:val>
                                        </p:tav>
                                        <p:tav tm="29950">
                                          <p:val>
                                            <p:fltVal val="19.8447"/>
                                          </p:val>
                                        </p:tav>
                                        <p:tav tm="33280">
                                          <p:val>
                                            <p:fltVal val="19.2733"/>
                                          </p:val>
                                        </p:tav>
                                        <p:tav tm="36610">
                                          <p:val>
                                            <p:fltVal val="17.9968"/>
                                          </p:val>
                                        </p:tav>
                                        <p:tav tm="39940">
                                          <p:val>
                                            <p:fltVal val="15.7316"/>
                                          </p:val>
                                        </p:tav>
                                        <p:tav tm="43270">
                                          <p:val>
                                            <p:fltVal val="12.194"/>
                                          </p:val>
                                        </p:tav>
                                        <p:tav tm="46600">
                                          <p:val>
                                            <p:fltVal val="7.1005"/>
                                          </p:val>
                                        </p:tav>
                                        <p:tav tm="49930">
                                          <p:val>
                                            <p:fltVal val="0.1675"/>
                                          </p:val>
                                        </p:tav>
                                        <p:tav tm="53250">
                                          <p:val>
                                            <p:fltVal val="-6.8299"/>
                                          </p:val>
                                        </p:tav>
                                        <p:tav tm="56580">
                                          <p:val>
                                            <p:fltVal val="-12.0002"/>
                                          </p:val>
                                        </p:tav>
                                        <p:tav tm="59900">
                                          <p:val>
                                            <p:fltVal val="-15.593"/>
                                          </p:val>
                                        </p:tav>
                                        <p:tav tm="63220">
                                          <p:val>
                                            <p:fltVal val="-17.9075"/>
                                          </p:val>
                                        </p:tav>
                                        <p:tav tm="66540">
                                          <p:val>
                                            <p:fltVal val="-19.2249"/>
                                          </p:val>
                                        </p:tav>
                                        <p:tav tm="69870">
                                          <p:val>
                                            <p:fltVal val="-19.8271"/>
                                          </p:val>
                                        </p:tav>
                                        <p:tav tm="73190">
                                          <p:val>
                                            <p:fltVal val="-19.9924"/>
                                          </p:val>
                                        </p:tav>
                                        <p:tav tm="76510">
                                          <p:val>
                                            <p:fltVal val="-19.9955"/>
                                          </p:val>
                                        </p:tav>
                                        <p:tav tm="79830">
                                          <p:val>
                                            <p:fltVal val="-19.8557"/>
                                          </p:val>
                                        </p:tav>
                                        <p:tav tm="83160">
                                          <p:val>
                                            <p:fltVal val="-19.3045"/>
                                          </p:val>
                                        </p:tav>
                                        <p:tav tm="86480">
                                          <p:val>
                                            <p:fltVal val="-18.0634"/>
                                          </p:val>
                                        </p:tav>
                                        <p:tav tm="89800">
                                          <p:val>
                                            <p:fltVal val="-15.8505"/>
                                          </p:val>
                                        </p:tav>
                                        <p:tav tm="93120">
                                          <p:val>
                                            <p:fltVal val="-12.3847"/>
                                          </p:val>
                                        </p:tav>
                                        <p:tav tm="96450">
                                          <p:val>
                                            <p:fltVal val="-7.3674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7" presetClass="emph" presetSubtype="128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9" dur="2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7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8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9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7704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9" b="7809"/>
          <a:stretch>
            <a:fillRect/>
          </a:stretch>
        </p:blipFill>
        <p:spPr>
          <a:xfrm>
            <a:off x="-518614" y="82734"/>
            <a:ext cx="12192000" cy="6858000"/>
          </a:xfrm>
        </p:spPr>
      </p:pic>
      <p:sp>
        <p:nvSpPr>
          <p:cNvPr id="25" name="Rectangle 24"/>
          <p:cNvSpPr/>
          <p:nvPr/>
        </p:nvSpPr>
        <p:spPr>
          <a:xfrm>
            <a:off x="1079399" y="424543"/>
            <a:ext cx="3846286" cy="5214257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332492" y="872122"/>
            <a:ext cx="3289300" cy="914400"/>
          </a:xfrm>
          <a:prstGeom prst="rect">
            <a:avLst/>
          </a:prstGeom>
          <a:noFill/>
        </p:spPr>
        <p:txBody>
          <a:bodyPr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accent4"/>
                </a:solidFill>
                <a:latin typeface="Source Sans Pro Black" panose="020B0803030403020204" pitchFamily="34" charset="-18"/>
              </a:rPr>
              <a:t>THANK YOU</a:t>
            </a: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1332492" y="1637731"/>
            <a:ext cx="3289300" cy="3748006"/>
          </a:xfrm>
          <a:prstGeom prst="rect">
            <a:avLst/>
          </a:prstGeom>
          <a:noFill/>
        </p:spPr>
        <p:txBody>
          <a:bodyPr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ếu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mọ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gườ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cầ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gì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….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Có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thể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gử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link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cầ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mình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ẽ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tìm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và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tả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ó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giúp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.</a:t>
            </a: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</a:b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Ebook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ó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Tà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liệu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,..</a:t>
            </a: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</a:b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hớ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vote 5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ao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mình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mớ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giúp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ha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…</a:t>
            </a: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</a:b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</a:b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Lưu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ý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hữ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file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này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khô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được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quyề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bá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lại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hay chia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ẻ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vì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điều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đó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ẽ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vi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phạm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bả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quyề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.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4168890" y="1453291"/>
            <a:ext cx="4529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>
            <a:off x="1446288" y="3792794"/>
            <a:ext cx="3087108" cy="1720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" name="Kiểu 3D 3" descr="Asian-style dragon">
                <a:extLst>
                  <a:ext uri="{FF2B5EF4-FFF2-40B4-BE49-F238E27FC236}">
                    <a16:creationId xmlns:a16="http://schemas.microsoft.com/office/drawing/2014/main" id="{72FC4835-90FE-909E-057B-BF80EEAF413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51783585"/>
                  </p:ext>
                </p:extLst>
              </p:nvPr>
            </p:nvGraphicFramePr>
            <p:xfrm>
              <a:off x="7476980" y="557244"/>
              <a:ext cx="3419329" cy="4809920"/>
            </p:xfrm>
            <a:graphic>
              <a:graphicData uri="http://schemas.microsoft.com/office/drawing/2017/model3d">
                <am3d:model3d r:embed="rId7">
                  <am3d:spPr>
                    <a:xfrm>
                      <a:off x="0" y="0"/>
                      <a:ext cx="3419329" cy="4809920"/>
                    </a:xfrm>
                    <a:prstGeom prst="rect">
                      <a:avLst/>
                    </a:prstGeom>
                  </am3d:spPr>
                  <am3d:camera>
                    <am3d:pos x="0" y="0" z="71190337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5146787" d="1000000"/>
                    <am3d:preTrans dx="3479" dy="-17968761" dz="1003981"/>
                    <am3d:scale>
                      <am3d:sx n="1000000" d="1000000"/>
                      <am3d:sy n="1000000" d="1000000"/>
                      <am3d:sz n="1000000" d="1000000"/>
                    </am3d:scale>
                    <am3d:rot ax="193967" ay="220858" az="12461"/>
                    <am3d:postTrans dx="0" dy="0" dz="0"/>
                  </am3d:trans>
                  <am3d:raster rName="Office3DRenderer" rVer="16.0.8326">
                    <am3d:blip r:embed="rId8"/>
                  </am3d:raster>
                  <am3d:objViewport viewportSz="6924379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" name="Kiểu 3D 3" descr="Asian-style dragon">
                <a:extLst>
                  <a:ext uri="{FF2B5EF4-FFF2-40B4-BE49-F238E27FC236}">
                    <a16:creationId xmlns:a16="http://schemas.microsoft.com/office/drawing/2014/main" id="{72FC4835-90FE-909E-057B-BF80EEAF413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476980" y="557244"/>
                <a:ext cx="3419329" cy="4809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6139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0" presetClass="entr" presetSubtype="1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sum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20"/>
                                          </p:val>
                                        </p:tav>
                                        <p:tav tm="3330">
                                          <p:val>
                                            <p:fltVal val="-19.9349"/>
                                          </p:val>
                                        </p:tav>
                                        <p:tav tm="6660">
                                          <p:val>
                                            <p:fltVal val="-19.7456"/>
                                          </p:val>
                                        </p:tav>
                                        <p:tav tm="9990">
                                          <p:val>
                                            <p:fltVal val="-19.441"/>
                                          </p:val>
                                        </p:tav>
                                        <p:tav tm="13320">
                                          <p:val>
                                            <p:fltVal val="-19.0299"/>
                                          </p:val>
                                        </p:tav>
                                        <p:tav tm="16650">
                                          <p:val>
                                            <p:fltVal val="-18.5212"/>
                                          </p:val>
                                        </p:tav>
                                        <p:tav tm="19970">
                                          <p:val>
                                            <p:fltVal val="-17.9257"/>
                                          </p:val>
                                        </p:tav>
                                        <p:tav tm="23290">
                                          <p:val>
                                            <p:fltVal val="-17.2507"/>
                                          </p:val>
                                        </p:tav>
                                        <p:tav tm="26620">
                                          <p:val>
                                            <p:fltVal val="-16.5027"/>
                                          </p:val>
                                        </p:tav>
                                        <p:tav tm="29950">
                                          <p:val>
                                            <p:fltVal val="-15.6925"/>
                                          </p:val>
                                        </p:tav>
                                        <p:tav tm="33280">
                                          <p:val>
                                            <p:fltVal val="-14.829"/>
                                          </p:val>
                                        </p:tav>
                                        <p:tav tm="36610">
                                          <p:val>
                                            <p:fltVal val="-13.9209"/>
                                          </p:val>
                                        </p:tav>
                                        <p:tav tm="39940">
                                          <p:val>
                                            <p:fltVal val="-12.9772"/>
                                          </p:val>
                                        </p:tav>
                                        <p:tav tm="43270">
                                          <p:val>
                                            <p:fltVal val="-12.0068"/>
                                          </p:val>
                                        </p:tav>
                                        <p:tav tm="46600">
                                          <p:val>
                                            <p:fltVal val="-11.0184"/>
                                          </p:val>
                                        </p:tav>
                                        <p:tav tm="49930">
                                          <p:val>
                                            <p:fltVal val="-10.0209"/>
                                          </p:val>
                                        </p:tav>
                                        <p:tav tm="53250">
                                          <p:val>
                                            <p:fltVal val="-9.0263"/>
                                          </p:val>
                                        </p:tav>
                                        <p:tav tm="56580">
                                          <p:val>
                                            <p:fltVal val="-8.0373"/>
                                          </p:val>
                                        </p:tav>
                                        <p:tav tm="59900">
                                          <p:val>
                                            <p:fltVal val="-7.0688"/>
                                          </p:val>
                                        </p:tav>
                                        <p:tav tm="63220">
                                          <p:val>
                                            <p:fltVal val="-6.1264"/>
                                          </p:val>
                                        </p:tav>
                                        <p:tav tm="66540">
                                          <p:val>
                                            <p:fltVal val="-5.2189"/>
                                          </p:val>
                                        </p:tav>
                                        <p:tav tm="69870">
                                          <p:val>
                                            <p:fltVal val="-4.3528"/>
                                          </p:val>
                                        </p:tav>
                                        <p:tav tm="73190">
                                          <p:val>
                                            <p:fltVal val="-3.5418"/>
                                          </p:val>
                                        </p:tav>
                                        <p:tav tm="76510">
                                          <p:val>
                                            <p:fltVal val="-2.7922"/>
                                          </p:val>
                                        </p:tav>
                                        <p:tav tm="79830">
                                          <p:val>
                                            <p:fltVal val="-2.1127"/>
                                          </p:val>
                                        </p:tav>
                                        <p:tav tm="83160">
                                          <p:val>
                                            <p:fltVal val="-1.5104"/>
                                          </p:val>
                                        </p:tav>
                                        <p:tav tm="86480">
                                          <p:val>
                                            <p:fltVal val="-0.9978"/>
                                          </p:val>
                                        </p:tav>
                                        <p:tav tm="89800">
                                          <p:val>
                                            <p:fltVal val="-0.5817"/>
                                          </p:val>
                                        </p:tav>
                                        <p:tav tm="93120">
                                          <p:val>
                                            <p:fltVal val="-0.2709"/>
                                          </p:val>
                                        </p:tav>
                                        <p:tav tm="96450">
                                          <p:val>
                                            <p:fltVal val="-0.0738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8" presetClass="emph" presetSubtype="128" accel="20000" decel="2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14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6.9747"/>
                                          </p:val>
                                        </p:tav>
                                        <p:tav tm="6660">
                                          <p:val>
                                            <p:fltVal val="12.1039"/>
                                          </p:val>
                                        </p:tav>
                                        <p:tav tm="9990">
                                          <p:val>
                                            <p:fltVal val="15.6713"/>
                                          </p:val>
                                        </p:tav>
                                        <p:tav tm="13320">
                                          <p:val>
                                            <p:fltVal val="17.9604"/>
                                          </p:val>
                                        </p:tav>
                                        <p:tav tm="16650">
                                          <p:val>
                                            <p:fltVal val="19.2548"/>
                                          </p:val>
                                        </p:tav>
                                        <p:tav tm="19970">
                                          <p:val>
                                            <p:fltVal val="19.8371"/>
                                          </p:val>
                                        </p:tav>
                                        <p:tav tm="23290">
                                          <p:val>
                                            <p:fltVal val="19.9936"/>
                                          </p:val>
                                        </p:tav>
                                        <p:tav tm="26620">
                                          <p:val>
                                            <p:fltVal val="19.9945"/>
                                          </p:val>
                                        </p:tav>
                                        <p:tav tm="29950">
                                          <p:val>
                                            <p:fltVal val="19.8447"/>
                                          </p:val>
                                        </p:tav>
                                        <p:tav tm="33280">
                                          <p:val>
                                            <p:fltVal val="19.2733"/>
                                          </p:val>
                                        </p:tav>
                                        <p:tav tm="36610">
                                          <p:val>
                                            <p:fltVal val="17.9968"/>
                                          </p:val>
                                        </p:tav>
                                        <p:tav tm="39940">
                                          <p:val>
                                            <p:fltVal val="15.7316"/>
                                          </p:val>
                                        </p:tav>
                                        <p:tav tm="43270">
                                          <p:val>
                                            <p:fltVal val="12.194"/>
                                          </p:val>
                                        </p:tav>
                                        <p:tav tm="46600">
                                          <p:val>
                                            <p:fltVal val="7.1005"/>
                                          </p:val>
                                        </p:tav>
                                        <p:tav tm="49930">
                                          <p:val>
                                            <p:fltVal val="0.1675"/>
                                          </p:val>
                                        </p:tav>
                                        <p:tav tm="53250">
                                          <p:val>
                                            <p:fltVal val="-6.8299"/>
                                          </p:val>
                                        </p:tav>
                                        <p:tav tm="56580">
                                          <p:val>
                                            <p:fltVal val="-12.0002"/>
                                          </p:val>
                                        </p:tav>
                                        <p:tav tm="59900">
                                          <p:val>
                                            <p:fltVal val="-15.593"/>
                                          </p:val>
                                        </p:tav>
                                        <p:tav tm="63220">
                                          <p:val>
                                            <p:fltVal val="-17.9075"/>
                                          </p:val>
                                        </p:tav>
                                        <p:tav tm="66540">
                                          <p:val>
                                            <p:fltVal val="-19.2249"/>
                                          </p:val>
                                        </p:tav>
                                        <p:tav tm="69870">
                                          <p:val>
                                            <p:fltVal val="-19.8271"/>
                                          </p:val>
                                        </p:tav>
                                        <p:tav tm="73190">
                                          <p:val>
                                            <p:fltVal val="-19.9924"/>
                                          </p:val>
                                        </p:tav>
                                        <p:tav tm="76510">
                                          <p:val>
                                            <p:fltVal val="-19.9955"/>
                                          </p:val>
                                        </p:tav>
                                        <p:tav tm="79830">
                                          <p:val>
                                            <p:fltVal val="-19.8557"/>
                                          </p:val>
                                        </p:tav>
                                        <p:tav tm="83160">
                                          <p:val>
                                            <p:fltVal val="-19.3045"/>
                                          </p:val>
                                        </p:tav>
                                        <p:tav tm="86480">
                                          <p:val>
                                            <p:fltVal val="-18.0634"/>
                                          </p:val>
                                        </p:tav>
                                        <p:tav tm="89800">
                                          <p:val>
                                            <p:fltVal val="-15.8505"/>
                                          </p:val>
                                        </p:tav>
                                        <p:tav tm="93120">
                                          <p:val>
                                            <p:fltVal val="-12.3847"/>
                                          </p:val>
                                        </p:tav>
                                        <p:tav tm="96450">
                                          <p:val>
                                            <p:fltVal val="-7.3674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6000"/>
                            </p:stCondLst>
                            <p:childTnLst>
                              <p:par>
                                <p:cTn id="16" presetID="39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1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120">
                                          <p:val>
                                            <p:fltVal val="-0.0012"/>
                                          </p:val>
                                        </p:tav>
                                        <p:tav tm="2250">
                                          <p:val>
                                            <p:fltVal val="-0.0098"/>
                                          </p:val>
                                        </p:tav>
                                        <p:tav tm="3370">
                                          <p:val>
                                            <p:fltVal val="-0.033"/>
                                          </p:val>
                                        </p:tav>
                                        <p:tav tm="4490">
                                          <p:val>
                                            <p:fltVal val="-0.0789"/>
                                          </p:val>
                                        </p:tav>
                                        <p:tav tm="5620">
                                          <p:val>
                                            <p:fltVal val="-0.1548"/>
                                          </p:val>
                                        </p:tav>
                                        <p:tav tm="6740">
                                          <p:val>
                                            <p:fltVal val="-0.267"/>
                                          </p:val>
                                        </p:tav>
                                        <p:tav tm="7870">
                                          <p:val>
                                            <p:fltVal val="-0.4235"/>
                                          </p:val>
                                        </p:tav>
                                        <p:tav tm="8990">
                                          <p:val>
                                            <p:fltVal val="-0.6337"/>
                                          </p:val>
                                        </p:tav>
                                        <p:tav tm="10110">
                                          <p:val>
                                            <p:fltVal val="-0.9013"/>
                                          </p:val>
                                        </p:tav>
                                        <p:tav tm="11240">
                                          <p:val>
                                            <p:fltVal val="-1.2353"/>
                                          </p:val>
                                        </p:tav>
                                        <p:tav tm="12360">
                                          <p:val>
                                            <p:fltVal val="-1.647"/>
                                          </p:val>
                                        </p:tav>
                                        <p:tav tm="13480">
                                          <p:val>
                                            <p:fltVal val="-2.0869"/>
                                          </p:val>
                                        </p:tav>
                                        <p:tav tm="14610">
                                          <p:val>
                                            <p:fltVal val="-2.4538"/>
                                          </p:val>
                                        </p:tav>
                                        <p:tav tm="15730">
                                          <p:val>
                                            <p:fltVal val="-2.7534"/>
                                          </p:val>
                                        </p:tav>
                                        <p:tav tm="16850">
                                          <p:val>
                                            <p:fltVal val="-2.9876"/>
                                          </p:val>
                                        </p:tav>
                                        <p:tav tm="17980">
                                          <p:val>
                                            <p:fltVal val="-3.1669"/>
                                          </p:val>
                                        </p:tav>
                                        <p:tav tm="19100">
                                          <p:val>
                                            <p:fltVal val="-3.2996"/>
                                          </p:val>
                                        </p:tav>
                                        <p:tav tm="20220">
                                          <p:val>
                                            <p:fltVal val="-3.3906"/>
                                          </p:val>
                                        </p:tav>
                                        <p:tav tm="21350">
                                          <p:val>
                                            <p:fltVal val="-3.4488"/>
                                          </p:val>
                                        </p:tav>
                                        <p:tav tm="22470">
                                          <p:val>
                                            <p:fltVal val="-3.4815"/>
                                          </p:val>
                                        </p:tav>
                                        <p:tav tm="23600">
                                          <p:val>
                                            <p:fltVal val="-3.4961"/>
                                          </p:val>
                                        </p:tav>
                                        <p:tav tm="24720">
                                          <p:val>
                                            <p:fltVal val="-3.4998"/>
                                          </p:val>
                                        </p:tav>
                                        <p:tav tm="25840">
                                          <p:val>
                                            <p:fltVal val="-3.0301"/>
                                          </p:val>
                                        </p:tav>
                                        <p:tav tm="26970">
                                          <p:val>
                                            <p:fltVal val="-0.9661"/>
                                          </p:val>
                                        </p:tav>
                                        <p:tav tm="28090">
                                          <p:val>
                                            <p:fltVal val="2.1525"/>
                                          </p:val>
                                        </p:tav>
                                        <p:tav tm="29210">
                                          <p:val>
                                            <p:fltVal val="6.1215"/>
                                          </p:val>
                                        </p:tav>
                                        <p:tav tm="30340">
                                          <p:val>
                                            <p:fltVal val="10.8322"/>
                                          </p:val>
                                        </p:tav>
                                        <p:tav tm="31460">
                                          <p:val>
                                            <p:fltVal val="16.2132"/>
                                          </p:val>
                                        </p:tav>
                                        <p:tav tm="32580">
                                          <p:val>
                                            <p:fltVal val="22.2128"/>
                                          </p:val>
                                        </p:tav>
                                        <p:tav tm="33710">
                                          <p:val>
                                            <p:fltVal val="28.7297"/>
                                          </p:val>
                                        </p:tav>
                                        <p:tav tm="34830">
                                          <p:val>
                                            <p:fltVal val="35.8493"/>
                                          </p:val>
                                        </p:tav>
                                        <p:tav tm="35960">
                                          <p:val>
                                            <p:fltVal val="43.4888"/>
                                          </p:val>
                                        </p:tav>
                                        <p:tav tm="37080">
                                          <p:val>
                                            <p:fltVal val="51.6257"/>
                                          </p:val>
                                        </p:tav>
                                        <p:tav tm="38200">
                                          <p:val>
                                            <p:fltVal val="60.2402"/>
                                          </p:val>
                                        </p:tav>
                                        <p:tav tm="39330">
                                          <p:val>
                                            <p:fltVal val="69.3155"/>
                                          </p:val>
                                        </p:tav>
                                        <p:tav tm="40450">
                                          <p:val>
                                            <p:fltVal val="78.8364"/>
                                          </p:val>
                                        </p:tav>
                                        <p:tav tm="41570">
                                          <p:val>
                                            <p:fltVal val="88.6987"/>
                                          </p:val>
                                        </p:tav>
                                        <p:tav tm="42700">
                                          <p:val>
                                            <p:fltVal val="99.0679"/>
                                          </p:val>
                                        </p:tav>
                                        <p:tav tm="43820">
                                          <p:val>
                                            <p:fltVal val="109.8461"/>
                                          </p:val>
                                        </p:tav>
                                        <p:tav tm="44940">
                                          <p:val>
                                            <p:fltVal val="121.0232"/>
                                          </p:val>
                                        </p:tav>
                                        <p:tav tm="46070">
                                          <p:val>
                                            <p:fltVal val="132.5899"/>
                                          </p:val>
                                        </p:tav>
                                        <p:tav tm="47190">
                                          <p:val>
                                            <p:fltVal val="144.5376"/>
                                          </p:val>
                                        </p:tav>
                                        <p:tav tm="48310">
                                          <p:val>
                                            <p:fltVal val="156.85851"/>
                                          </p:val>
                                        </p:tav>
                                        <p:tav tm="49440">
                                          <p:val>
                                            <p:fltVal val="169.43021"/>
                                          </p:val>
                                        </p:tav>
                                        <p:tav tm="50560">
                                          <p:val>
                                            <p:fltVal val="182.34309"/>
                                          </p:val>
                                        </p:tav>
                                        <p:tav tm="51690">
                                          <p:val>
                                            <p:fltVal val="195.1411"/>
                                          </p:val>
                                        </p:tav>
                                        <p:tav tm="52810">
                                          <p:val>
                                            <p:fltVal val="207.6945"/>
                                          </p:val>
                                        </p:tav>
                                        <p:tav tm="53930">
                                          <p:val>
                                            <p:fltVal val="219.77251"/>
                                          </p:val>
                                        </p:tav>
                                        <p:tav tm="55060">
                                          <p:val>
                                            <p:fltVal val="231.4814"/>
                                          </p:val>
                                        </p:tav>
                                        <p:tav tm="56180">
                                          <p:val>
                                            <p:fltVal val="242.91341"/>
                                          </p:val>
                                        </p:tav>
                                        <p:tav tm="57300">
                                          <p:val>
                                            <p:fltVal val="253.8558"/>
                                          </p:val>
                                        </p:tav>
                                        <p:tav tm="58430">
                                          <p:val>
                                            <p:fltVal val="264.40329"/>
                                          </p:val>
                                        </p:tav>
                                        <p:tav tm="59550">
                                          <p:val>
                                            <p:fltVal val="274.63501"/>
                                          </p:val>
                                        </p:tav>
                                        <p:tav tm="60670">
                                          <p:val>
                                            <p:fltVal val="284.35721"/>
                                          </p:val>
                                        </p:tav>
                                        <p:tav tm="61800">
                                          <p:val>
                                            <p:fltVal val="293.6507"/>
                                          </p:val>
                                        </p:tav>
                                        <p:tav tm="62920">
                                          <p:val>
                                            <p:fltVal val="302.57959"/>
                                          </p:val>
                                        </p:tav>
                                        <p:tav tm="64040">
                                          <p:val>
                                            <p:fltVal val="310.96921"/>
                                          </p:val>
                                        </p:tav>
                                        <p:tav tm="65170">
                                          <p:val>
                                            <p:fltVal val="318.88379"/>
                                          </p:val>
                                        </p:tav>
                                        <p:tav tm="66290">
                                          <p:val>
                                            <p:fltVal val="326.36801"/>
                                          </p:val>
                                        </p:tav>
                                        <p:tav tm="67420">
                                          <p:val>
                                            <p:fltVal val="333.26511"/>
                                          </p:val>
                                        </p:tav>
                                        <p:tav tm="68540">
                                          <p:val>
                                            <p:fltVal val="339.6712"/>
                                          </p:val>
                                        </p:tav>
                                        <p:tav tm="69660">
                                          <p:val>
                                            <p:fltVal val="345.43851"/>
                                          </p:val>
                                        </p:tav>
                                        <p:tav tm="70790">
                                          <p:val>
                                            <p:fltVal val="350.58469"/>
                                          </p:val>
                                        </p:tav>
                                        <p:tav tm="71910">
                                          <p:val>
                                            <p:fltVal val="355.09189"/>
                                          </p:val>
                                        </p:tav>
                                        <p:tav tm="73030">
                                          <p:val>
                                            <p:fltVal val="358.80179"/>
                                          </p:val>
                                        </p:tav>
                                        <p:tav tm="74160">
                                          <p:val>
                                            <p:fltVal val="361.63531"/>
                                          </p:val>
                                        </p:tav>
                                        <p:tav tm="75280">
                                          <p:val>
                                            <p:fltVal val="363.345"/>
                                          </p:val>
                                        </p:tav>
                                        <p:tav tm="76400">
                                          <p:val>
                                            <p:fltVal val="363.4978"/>
                                          </p:val>
                                        </p:tav>
                                        <p:tav tm="77530">
                                          <p:val>
                                            <p:fltVal val="363.47061"/>
                                          </p:val>
                                        </p:tav>
                                        <p:tav tm="78650">
                                          <p:val>
                                            <p:fltVal val="363.38339"/>
                                          </p:val>
                                        </p:tav>
                                        <p:tav tm="79780">
                                          <p:val>
                                            <p:fltVal val="363.20349"/>
                                          </p:val>
                                        </p:tav>
                                        <p:tav tm="80900">
                                          <p:val>
                                            <p:fltVal val="362.8963"/>
                                          </p:val>
                                        </p:tav>
                                        <p:tav tm="82020">
                                          <p:val>
                                            <p:fltVal val="362.4227"/>
                                          </p:val>
                                        </p:tav>
                                        <p:tav tm="83150">
                                          <p:val>
                                            <p:fltVal val="361.7569"/>
                                          </p:val>
                                        </p:tav>
                                        <p:tav tm="84270">
                                          <p:val>
                                            <p:fltVal val="361.0874"/>
                                          </p:val>
                                        </p:tav>
                                        <p:tav tm="85390">
                                          <p:val>
                                            <p:fltVal val="360.6105"/>
                                          </p:val>
                                        </p:tav>
                                        <p:tav tm="86520">
                                          <p:val>
                                            <p:fltVal val="360.30069"/>
                                          </p:val>
                                        </p:tav>
                                        <p:tav tm="87640">
                                          <p:val>
                                            <p:fltVal val="360.1188"/>
                                          </p:val>
                                        </p:tav>
                                        <p:tav tm="88760">
                                          <p:val>
                                            <p:fltVal val="360.03021"/>
                                          </p:val>
                                        </p:tav>
                                        <p:tav tm="89890">
                                          <p:val>
                                            <p:fltVal val="360.00229"/>
                                          </p:val>
                                        </p:tav>
                                        <p:tav tm="91010">
                                          <p:val>
                                            <p:fltVal val="360"/>
                                          </p:val>
                                        </p:tav>
                                        <p:tav tm="92130">
                                          <p:val>
                                            <p:fltVal val="360"/>
                                          </p:val>
                                        </p:tav>
                                        <p:tav tm="93260">
                                          <p:val>
                                            <p:fltVal val="360"/>
                                          </p:val>
                                        </p:tav>
                                        <p:tav tm="94380">
                                          <p:val>
                                            <p:fltVal val="360"/>
                                          </p:val>
                                        </p:tav>
                                        <p:tav tm="95510">
                                          <p:val>
                                            <p:fltVal val="360"/>
                                          </p:val>
                                        </p:tav>
                                        <p:tav tm="96630">
                                          <p:val>
                                            <p:fltVal val="360"/>
                                          </p:val>
                                        </p:tav>
                                        <p:tav tm="97750">
                                          <p:val>
                                            <p:fltVal val="360"/>
                                          </p:val>
                                        </p:tav>
                                        <p:tav tm="9888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36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sum">
                                        <p:cTn id="1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transl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120">
                                          <p:val>
                                            <p:fltVal val="0"/>
                                          </p:val>
                                        </p:tav>
                                        <p:tav tm="2250">
                                          <p:val>
                                            <p:fltVal val="-10E-5"/>
                                          </p:val>
                                        </p:tav>
                                        <p:tav tm="3370">
                                          <p:val>
                                            <p:fltVal val="-0.0004"/>
                                          </p:val>
                                        </p:tav>
                                        <p:tav tm="4490">
                                          <p:val>
                                            <p:fltVal val="-0.0011"/>
                                          </p:val>
                                        </p:tav>
                                        <p:tav tm="5620">
                                          <p:val>
                                            <p:fltVal val="-0.0021"/>
                                          </p:val>
                                        </p:tav>
                                        <p:tav tm="6740">
                                          <p:val>
                                            <p:fltVal val="-0.0037"/>
                                          </p:val>
                                        </p:tav>
                                        <p:tav tm="7870">
                                          <p:val>
                                            <p:fltVal val="-0.0059"/>
                                          </p:val>
                                        </p:tav>
                                        <p:tav tm="8990">
                                          <p:val>
                                            <p:fltVal val="-0.0088"/>
                                          </p:val>
                                        </p:tav>
                                        <p:tav tm="10110">
                                          <p:val>
                                            <p:fltVal val="-0.0125"/>
                                          </p:val>
                                        </p:tav>
                                        <p:tav tm="11240">
                                          <p:val>
                                            <p:fltVal val="-0.0162"/>
                                          </p:val>
                                        </p:tav>
                                        <p:tav tm="12360">
                                          <p:val>
                                            <p:fltVal val="-0.0191"/>
                                          </p:val>
                                        </p:tav>
                                        <p:tav tm="13480">
                                          <p:val>
                                            <p:fltVal val="-0.0213"/>
                                          </p:val>
                                        </p:tav>
                                        <p:tav tm="14610">
                                          <p:val>
                                            <p:fltVal val="-0.0228"/>
                                          </p:val>
                                        </p:tav>
                                        <p:tav tm="15730">
                                          <p:val>
                                            <p:fltVal val="-0.0239"/>
                                          </p:val>
                                        </p:tav>
                                        <p:tav tm="16850">
                                          <p:val>
                                            <p:fltVal val="-0.0245"/>
                                          </p:val>
                                        </p:tav>
                                        <p:tav tm="17980">
                                          <p:val>
                                            <p:fltVal val="-0.0248"/>
                                          </p:val>
                                        </p:tav>
                                        <p:tav tm="19100">
                                          <p:val>
                                            <p:fltVal val="-0.0249"/>
                                          </p:val>
                                        </p:tav>
                                        <p:tav tm="20220">
                                          <p:val>
                                            <p:fltVal val="-0.0249"/>
                                          </p:val>
                                        </p:tav>
                                        <p:tav tm="21350">
                                          <p:val>
                                            <p:fltVal val="-0.0248"/>
                                          </p:val>
                                        </p:tav>
                                        <p:tav tm="22470">
                                          <p:val>
                                            <p:fltVal val="-0.0241"/>
                                          </p:val>
                                        </p:tav>
                                        <p:tav tm="23600">
                                          <p:val>
                                            <p:fltVal val="-0.022"/>
                                          </p:val>
                                        </p:tav>
                                        <p:tav tm="24720">
                                          <p:val>
                                            <p:fltVal val="-0.0179"/>
                                          </p:val>
                                        </p:tav>
                                        <p:tav tm="25840">
                                          <p:val>
                                            <p:fltVal val="-0.0113"/>
                                          </p:val>
                                        </p:tav>
                                        <p:tav tm="26970">
                                          <p:val>
                                            <p:fltVal val="-0.0013"/>
                                          </p:val>
                                        </p:tav>
                                        <p:tav tm="28090">
                                          <p:val>
                                            <p:fltVal val="0.0124"/>
                                          </p:val>
                                        </p:tav>
                                        <p:tav tm="29210">
                                          <p:val>
                                            <p:fltVal val="0.0309"/>
                                          </p:val>
                                        </p:tav>
                                        <p:tav tm="30340">
                                          <p:val>
                                            <p:fltVal val="0.0546"/>
                                          </p:val>
                                        </p:tav>
                                        <p:tav tm="31460">
                                          <p:val>
                                            <p:fltVal val="0.0842"/>
                                          </p:val>
                                        </p:tav>
                                        <p:tav tm="32580">
                                          <p:val>
                                            <p:fltVal val="0.1204"/>
                                          </p:val>
                                        </p:tav>
                                        <p:tav tm="33710">
                                          <p:val>
                                            <p:fltVal val="0.1634"/>
                                          </p:val>
                                        </p:tav>
                                        <p:tav tm="34830">
                                          <p:val>
                                            <p:fltVal val="0.2145"/>
                                          </p:val>
                                        </p:tav>
                                        <p:tav tm="35960">
                                          <p:val>
                                            <p:fltVal val="0.2711"/>
                                          </p:val>
                                        </p:tav>
                                        <p:tav tm="37080">
                                          <p:val>
                                            <p:fltVal val="0.3207"/>
                                          </p:val>
                                        </p:tav>
                                        <p:tav tm="38200">
                                          <p:val>
                                            <p:fltVal val="0.3625"/>
                                          </p:val>
                                        </p:tav>
                                        <p:tav tm="39330">
                                          <p:val>
                                            <p:fltVal val="0.3973"/>
                                          </p:val>
                                        </p:tav>
                                        <p:tav tm="40450">
                                          <p:val>
                                            <p:fltVal val="0.4256"/>
                                          </p:val>
                                        </p:tav>
                                        <p:tav tm="41570">
                                          <p:val>
                                            <p:fltVal val="0.448"/>
                                          </p:val>
                                        </p:tav>
                                        <p:tav tm="42700">
                                          <p:val>
                                            <p:fltVal val="0.4655"/>
                                          </p:val>
                                        </p:tav>
                                        <p:tav tm="43820">
                                          <p:val>
                                            <p:fltVal val="0.4786"/>
                                          </p:val>
                                        </p:tav>
                                        <p:tav tm="44940">
                                          <p:val>
                                            <p:fltVal val="0.4878"/>
                                          </p:val>
                                        </p:tav>
                                        <p:tav tm="46070">
                                          <p:val>
                                            <p:fltVal val="0.4939"/>
                                          </p:val>
                                        </p:tav>
                                        <p:tav tm="47190">
                                          <p:val>
                                            <p:fltVal val="0.4975"/>
                                          </p:val>
                                        </p:tav>
                                        <p:tav tm="48310">
                                          <p:val>
                                            <p:fltVal val="0.4993"/>
                                          </p:val>
                                        </p:tav>
                                        <p:tav tm="49440">
                                          <p:val>
                                            <p:fltVal val="0.4999"/>
                                          </p:val>
                                        </p:tav>
                                        <p:tav tm="50560">
                                          <p:val>
                                            <p:fltVal val="0.4999"/>
                                          </p:val>
                                        </p:tav>
                                        <p:tav tm="51690">
                                          <p:val>
                                            <p:fltVal val="0.4998"/>
                                          </p:val>
                                        </p:tav>
                                        <p:tav tm="52810">
                                          <p:val>
                                            <p:fltVal val="0.4988"/>
                                          </p:val>
                                        </p:tav>
                                        <p:tav tm="53930">
                                          <p:val>
                                            <p:fltVal val="0.4965"/>
                                          </p:val>
                                        </p:tav>
                                        <p:tav tm="55060">
                                          <p:val>
                                            <p:fltVal val="0.4921"/>
                                          </p:val>
                                        </p:tav>
                                        <p:tav tm="56180">
                                          <p:val>
                                            <p:fltVal val="0.485"/>
                                          </p:val>
                                        </p:tav>
                                        <p:tav tm="57300">
                                          <p:val>
                                            <p:fltVal val="0.4746"/>
                                          </p:val>
                                        </p:tav>
                                        <p:tav tm="58430">
                                          <p:val>
                                            <p:fltVal val="0.4603"/>
                                          </p:val>
                                        </p:tav>
                                        <p:tav tm="59550">
                                          <p:val>
                                            <p:fltVal val="0.4411"/>
                                          </p:val>
                                        </p:tav>
                                        <p:tav tm="60670">
                                          <p:val>
                                            <p:fltVal val="0.4169"/>
                                          </p:val>
                                        </p:tav>
                                        <p:tav tm="61800">
                                          <p:val>
                                            <p:fltVal val="0.3868"/>
                                          </p:val>
                                        </p:tav>
                                        <p:tav tm="62920">
                                          <p:val>
                                            <p:fltVal val="0.3499"/>
                                          </p:val>
                                        </p:tav>
                                        <p:tav tm="64040">
                                          <p:val>
                                            <p:fltVal val="0.306"/>
                                          </p:val>
                                        </p:tav>
                                        <p:tav tm="65170">
                                          <p:val>
                                            <p:fltVal val="0.2544"/>
                                          </p:val>
                                        </p:tav>
                                        <p:tav tm="66290">
                                          <p:val>
                                            <p:fltVal val="0.1981"/>
                                          </p:val>
                                        </p:tav>
                                        <p:tav tm="67420">
                                          <p:val>
                                            <p:fltVal val="0.1498"/>
                                          </p:val>
                                        </p:tav>
                                        <p:tav tm="68540">
                                          <p:val>
                                            <p:fltVal val="0.1087"/>
                                          </p:val>
                                        </p:tav>
                                        <p:tav tm="69660">
                                          <p:val>
                                            <p:fltVal val="0.0748"/>
                                          </p:val>
                                        </p:tav>
                                        <p:tav tm="70790">
                                          <p:val>
                                            <p:fltVal val="0.0473"/>
                                          </p:val>
                                        </p:tav>
                                        <p:tav tm="71910">
                                          <p:val>
                                            <p:fltVal val="0.0251"/>
                                          </p:val>
                                        </p:tav>
                                        <p:tav tm="73030">
                                          <p:val>
                                            <p:fltVal val="0.0082"/>
                                          </p:val>
                                        </p:tav>
                                        <p:tav tm="74160">
                                          <p:val>
                                            <p:fltVal val="-0.0044"/>
                                          </p:val>
                                        </p:tav>
                                        <p:tav tm="75280">
                                          <p:val>
                                            <p:fltVal val="-0.0134"/>
                                          </p:val>
                                        </p:tav>
                                        <p:tav tm="76400">
                                          <p:val>
                                            <p:fltVal val="-0.0192"/>
                                          </p:val>
                                        </p:tav>
                                        <p:tav tm="77530">
                                          <p:val>
                                            <p:fltVal val="-0.0227"/>
                                          </p:val>
                                        </p:tav>
                                        <p:tav tm="78650">
                                          <p:val>
                                            <p:fltVal val="-0.0244"/>
                                          </p:val>
                                        </p:tav>
                                        <p:tav tm="79780">
                                          <p:val>
                                            <p:fltVal val="-0.0249"/>
                                          </p:val>
                                        </p:tav>
                                        <p:tav tm="80900">
                                          <p:val>
                                            <p:fltVal val="-0.0249"/>
                                          </p:val>
                                        </p:tav>
                                        <p:tav tm="82020">
                                          <p:val>
                                            <p:fltVal val="-0.0244"/>
                                          </p:val>
                                        </p:tav>
                                        <p:tav tm="83150">
                                          <p:val>
                                            <p:fltVal val="-0.0219"/>
                                          </p:val>
                                        </p:tav>
                                        <p:tav tm="84270">
                                          <p:val>
                                            <p:fltVal val="-0.0156"/>
                                          </p:val>
                                        </p:tav>
                                        <p:tav tm="85390">
                                          <p:val>
                                            <p:fltVal val="-0.0039"/>
                                          </p:val>
                                        </p:tav>
                                        <p:tav tm="86520">
                                          <p:val>
                                            <p:fltVal val="0.0104"/>
                                          </p:val>
                                        </p:tav>
                                        <p:tav tm="87640">
                                          <p:val>
                                            <p:fltVal val="0.0192"/>
                                          </p:val>
                                        </p:tav>
                                        <p:tav tm="88760">
                                          <p:val>
                                            <p:fltVal val="0.0235"/>
                                          </p:val>
                                        </p:tav>
                                        <p:tav tm="89890">
                                          <p:val>
                                            <p:fltVal val="0.0248"/>
                                          </p:val>
                                        </p:tav>
                                        <p:tav tm="91010">
                                          <p:val>
                                            <p:fltVal val="0.0249"/>
                                          </p:val>
                                        </p:tav>
                                        <p:tav tm="92130">
                                          <p:val>
                                            <p:fltVal val="0.0247"/>
                                          </p:val>
                                        </p:tav>
                                        <p:tav tm="93260">
                                          <p:val>
                                            <p:fltVal val="0.0234"/>
                                          </p:val>
                                        </p:tav>
                                        <p:tav tm="94380">
                                          <p:val>
                                            <p:fltVal val="0.0202"/>
                                          </p:val>
                                        </p:tav>
                                        <p:tav tm="95510">
                                          <p:val>
                                            <p:fltVal val="0.0143"/>
                                          </p:val>
                                        </p:tav>
                                        <p:tav tm="96630">
                                          <p:val>
                                            <p:fltVal val="0.0071"/>
                                          </p:val>
                                        </p:tav>
                                        <p:tav tm="97750">
                                          <p:val>
                                            <p:fltVal val="0.0027"/>
                                          </p:val>
                                        </p:tav>
                                        <p:tav tm="98880">
                                          <p:val>
                                            <p:fltVal val="0.0007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1120">
                                          <p:val>
                                            <p:fltVal val="1"/>
                                          </p:val>
                                        </p:tav>
                                        <p:tav tm="2250">
                                          <p:val>
                                            <p:fltVal val="1.0002"/>
                                          </p:val>
                                        </p:tav>
                                        <p:tav tm="3370">
                                          <p:val>
                                            <p:fltVal val="1.0009"/>
                                          </p:val>
                                        </p:tav>
                                        <p:tav tm="4490">
                                          <p:val>
                                            <p:fltVal val="1.0023"/>
                                          </p:val>
                                        </p:tav>
                                        <p:tav tm="5620">
                                          <p:val>
                                            <p:fltVal val="1.0046"/>
                                          </p:val>
                                        </p:tav>
                                        <p:tav tm="6740">
                                          <p:val>
                                            <p:fltVal val="1.008"/>
                                          </p:val>
                                        </p:tav>
                                        <p:tav tm="7870">
                                          <p:val>
                                            <p:fltVal val="1.0127"/>
                                          </p:val>
                                        </p:tav>
                                        <p:tav tm="8990">
                                          <p:val>
                                            <p:fltVal val="1.019"/>
                                          </p:val>
                                        </p:tav>
                                        <p:tav tm="10110">
                                          <p:val>
                                            <p:fltVal val="1.0271"/>
                                          </p:val>
                                        </p:tav>
                                        <p:tav tm="11240">
                                          <p:val>
                                            <p:fltVal val="1.0351"/>
                                          </p:val>
                                        </p:tav>
                                        <p:tav tm="12360">
                                          <p:val>
                                            <p:fltVal val="1.0414"/>
                                          </p:val>
                                        </p:tav>
                                        <p:tav tm="13480">
                                          <p:val>
                                            <p:fltVal val="1.046"/>
                                          </p:val>
                                        </p:tav>
                                        <p:tav tm="14610">
                                          <p:val>
                                            <p:fltVal val="1.0494"/>
                                          </p:val>
                                        </p:tav>
                                        <p:tav tm="15730">
                                          <p:val>
                                            <p:fltVal val="1.0516"/>
                                          </p:val>
                                        </p:tav>
                                        <p:tav tm="16850">
                                          <p:val>
                                            <p:fltVal val="1.053"/>
                                          </p:val>
                                        </p:tav>
                                        <p:tav tm="17980">
                                          <p:val>
                                            <p:fltVal val="1.0537"/>
                                          </p:val>
                                        </p:tav>
                                        <p:tav tm="19100">
                                          <p:val>
                                            <p:fltVal val="1.0539"/>
                                          </p:val>
                                        </p:tav>
                                        <p:tav tm="20220">
                                          <p:val>
                                            <p:fltVal val="1.054"/>
                                          </p:val>
                                        </p:tav>
                                        <p:tav tm="21350">
                                          <p:val>
                                            <p:fltVal val="1.0536"/>
                                          </p:val>
                                        </p:tav>
                                        <p:tav tm="22470">
                                          <p:val>
                                            <p:fltVal val="1.0515"/>
                                          </p:val>
                                        </p:tav>
                                        <p:tav tm="23600">
                                          <p:val>
                                            <p:fltVal val="1.0457"/>
                                          </p:val>
                                        </p:tav>
                                        <p:tav tm="24720">
                                          <p:val>
                                            <p:fltVal val="1.0344"/>
                                          </p:val>
                                        </p:tav>
                                        <p:tav tm="25840">
                                          <p:val>
                                            <p:fltVal val="1.0183"/>
                                          </p:val>
                                        </p:tav>
                                        <p:tav tm="26970">
                                          <p:val>
                                            <p:fltVal val="1.0076"/>
                                          </p:val>
                                        </p:tav>
                                        <p:tav tm="28090">
                                          <p:val>
                                            <p:fltVal val="1.0021"/>
                                          </p:val>
                                        </p:tav>
                                        <p:tav tm="29210">
                                          <p:val>
                                            <p:fltVal val="1.0002"/>
                                          </p:val>
                                        </p:tav>
                                        <p:tav tm="30340">
                                          <p:val>
                                            <p:fltVal val="1"/>
                                          </p:val>
                                        </p:tav>
                                        <p:tav tm="31460">
                                          <p:val>
                                            <p:fltVal val="1"/>
                                          </p:val>
                                        </p:tav>
                                        <p:tav tm="32580">
                                          <p:val>
                                            <p:fltVal val="1"/>
                                          </p:val>
                                        </p:tav>
                                        <p:tav tm="33710">
                                          <p:val>
                                            <p:fltVal val="1"/>
                                          </p:val>
                                        </p:tav>
                                        <p:tav tm="34830">
                                          <p:val>
                                            <p:fltVal val="1"/>
                                          </p:val>
                                        </p:tav>
                                        <p:tav tm="35960">
                                          <p:val>
                                            <p:fltVal val="1"/>
                                          </p:val>
                                        </p:tav>
                                        <p:tav tm="37080">
                                          <p:val>
                                            <p:fltVal val="1"/>
                                          </p:val>
                                        </p:tav>
                                        <p:tav tm="38200">
                                          <p:val>
                                            <p:fltVal val="1"/>
                                          </p:val>
                                        </p:tav>
                                        <p:tav tm="39330">
                                          <p:val>
                                            <p:fltVal val="1"/>
                                          </p:val>
                                        </p:tav>
                                        <p:tav tm="40450">
                                          <p:val>
                                            <p:fltVal val="1"/>
                                          </p:val>
                                        </p:tav>
                                        <p:tav tm="41570">
                                          <p:val>
                                            <p:fltVal val="1"/>
                                          </p:val>
                                        </p:tav>
                                        <p:tav tm="42700">
                                          <p:val>
                                            <p:fltVal val="1"/>
                                          </p:val>
                                        </p:tav>
                                        <p:tav tm="43820">
                                          <p:val>
                                            <p:fltVal val="1"/>
                                          </p:val>
                                        </p:tav>
                                        <p:tav tm="44940">
                                          <p:val>
                                            <p:fltVal val="1"/>
                                          </p:val>
                                        </p:tav>
                                        <p:tav tm="46070">
                                          <p:val>
                                            <p:fltVal val="1"/>
                                          </p:val>
                                        </p:tav>
                                        <p:tav tm="47190">
                                          <p:val>
                                            <p:fltVal val="1"/>
                                          </p:val>
                                        </p:tav>
                                        <p:tav tm="48310">
                                          <p:val>
                                            <p:fltVal val="1"/>
                                          </p:val>
                                        </p:tav>
                                        <p:tav tm="49440">
                                          <p:val>
                                            <p:fltVal val="1"/>
                                          </p:val>
                                        </p:tav>
                                        <p:tav tm="50560">
                                          <p:val>
                                            <p:fltVal val="1"/>
                                          </p:val>
                                        </p:tav>
                                        <p:tav tm="51690">
                                          <p:val>
                                            <p:fltVal val="1"/>
                                          </p:val>
                                        </p:tav>
                                        <p:tav tm="52810">
                                          <p:val>
                                            <p:fltVal val="1"/>
                                          </p:val>
                                        </p:tav>
                                        <p:tav tm="53930">
                                          <p:val>
                                            <p:fltVal val="1"/>
                                          </p:val>
                                        </p:tav>
                                        <p:tav tm="55060">
                                          <p:val>
                                            <p:fltVal val="1"/>
                                          </p:val>
                                        </p:tav>
                                        <p:tav tm="56180">
                                          <p:val>
                                            <p:fltVal val="1"/>
                                          </p:val>
                                        </p:tav>
                                        <p:tav tm="57300">
                                          <p:val>
                                            <p:fltVal val="1"/>
                                          </p:val>
                                        </p:tav>
                                        <p:tav tm="58430">
                                          <p:val>
                                            <p:fltVal val="1"/>
                                          </p:val>
                                        </p:tav>
                                        <p:tav tm="59550">
                                          <p:val>
                                            <p:fltVal val="1"/>
                                          </p:val>
                                        </p:tav>
                                        <p:tav tm="60670">
                                          <p:val>
                                            <p:fltVal val="1"/>
                                          </p:val>
                                        </p:tav>
                                        <p:tav tm="61800">
                                          <p:val>
                                            <p:fltVal val="1"/>
                                          </p:val>
                                        </p:tav>
                                        <p:tav tm="62920">
                                          <p:val>
                                            <p:fltVal val="1"/>
                                          </p:val>
                                        </p:tav>
                                        <p:tav tm="64040">
                                          <p:val>
                                            <p:fltVal val="1"/>
                                          </p:val>
                                        </p:tav>
                                        <p:tav tm="65170">
                                          <p:val>
                                            <p:fltVal val="1"/>
                                          </p:val>
                                        </p:tav>
                                        <p:tav tm="66290">
                                          <p:val>
                                            <p:fltVal val="1"/>
                                          </p:val>
                                        </p:tav>
                                        <p:tav tm="67420">
                                          <p:val>
                                            <p:fltVal val="1"/>
                                          </p:val>
                                        </p:tav>
                                        <p:tav tm="68540">
                                          <p:val>
                                            <p:fltVal val="1.0006"/>
                                          </p:val>
                                        </p:tav>
                                        <p:tav tm="69660">
                                          <p:val>
                                            <p:fltVal val="1.0024"/>
                                          </p:val>
                                        </p:tav>
                                        <p:tav tm="70790">
                                          <p:val>
                                            <p:fltVal val="1.006"/>
                                          </p:val>
                                        </p:tav>
                                        <p:tav tm="71910">
                                          <p:val>
                                            <p:fltVal val="1.0121"/>
                                          </p:val>
                                        </p:tav>
                                        <p:tav tm="73030">
                                          <p:val>
                                            <p:fltVal val="1.0213"/>
                                          </p:val>
                                        </p:tav>
                                        <p:tav tm="74160">
                                          <p:val>
                                            <p:fltVal val="1.0331"/>
                                          </p:val>
                                        </p:tav>
                                        <p:tav tm="75280">
                                          <p:val>
                                            <p:fltVal val="1.0422"/>
                                          </p:val>
                                        </p:tav>
                                        <p:tav tm="76400">
                                          <p:val>
                                            <p:fltVal val="1.0482"/>
                                          </p:val>
                                        </p:tav>
                                        <p:tav tm="77530">
                                          <p:val>
                                            <p:fltVal val="1.0516"/>
                                          </p:val>
                                        </p:tav>
                                        <p:tav tm="78650">
                                          <p:val>
                                            <p:fltVal val="1.0534"/>
                                          </p:val>
                                        </p:tav>
                                        <p:tav tm="79780">
                                          <p:val>
                                            <p:fltVal val="1.0539"/>
                                          </p:val>
                                        </p:tav>
                                        <p:tav tm="80900">
                                          <p:val>
                                            <p:fltVal val="1.0539"/>
                                          </p:val>
                                        </p:tav>
                                        <p:tav tm="82020">
                                          <p:val>
                                            <p:fltVal val="1.0534"/>
                                          </p:val>
                                        </p:tav>
                                        <p:tav tm="83150">
                                          <p:val>
                                            <p:fltVal val="1.0506"/>
                                          </p:val>
                                        </p:tav>
                                        <p:tav tm="84270">
                                          <p:val>
                                            <p:fltVal val="1.0439"/>
                                          </p:val>
                                        </p:tav>
                                        <p:tav tm="85390">
                                          <p:val>
                                            <p:fltVal val="1.0312"/>
                                          </p:val>
                                        </p:tav>
                                        <p:tav tm="86520">
                                          <p:val>
                                            <p:fltVal val="1.0156"/>
                                          </p:val>
                                        </p:tav>
                                        <p:tav tm="87640">
                                          <p:val>
                                            <p:fltVal val="1.0061"/>
                                          </p:val>
                                        </p:tav>
                                        <p:tav tm="88760">
                                          <p:val>
                                            <p:fltVal val="1.0015"/>
                                          </p:val>
                                        </p:tav>
                                        <p:tav tm="89890">
                                          <p:val>
                                            <p:fltVal val="1.0001"/>
                                          </p:val>
                                        </p:tav>
                                        <p:tav tm="91010">
                                          <p:val>
                                            <p:fltVal val="1"/>
                                          </p:val>
                                        </p:tav>
                                        <p:tav tm="92130">
                                          <p:val>
                                            <p:fltVal val="1"/>
                                          </p:val>
                                        </p:tav>
                                        <p:tav tm="93260">
                                          <p:val>
                                            <p:fltVal val="1"/>
                                          </p:val>
                                        </p:tav>
                                        <p:tav tm="94380">
                                          <p:val>
                                            <p:fltVal val="1"/>
                                          </p:val>
                                        </p:tav>
                                        <p:tav tm="95510">
                                          <p:val>
                                            <p:fltVal val="1"/>
                                          </p:val>
                                        </p:tav>
                                        <p:tav tm="96630">
                                          <p:val>
                                            <p:fltVal val="1"/>
                                          </p:val>
                                        </p:tav>
                                        <p:tav tm="97750">
                                          <p:val>
                                            <p:fltVal val="1"/>
                                          </p:val>
                                        </p:tav>
                                        <p:tav tm="98880">
                                          <p:val>
                                            <p:fltVal val="1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2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1120">
                                          <p:val>
                                            <p:fltVal val="0.9999"/>
                                          </p:val>
                                        </p:tav>
                                        <p:tav tm="2250">
                                          <p:val>
                                            <p:fltVal val="0.9994"/>
                                          </p:val>
                                        </p:tav>
                                        <p:tav tm="3370">
                                          <p:val>
                                            <p:fltVal val="0.9981"/>
                                          </p:val>
                                        </p:tav>
                                        <p:tav tm="4490">
                                          <p:val>
                                            <p:fltVal val="0.9955"/>
                                          </p:val>
                                        </p:tav>
                                        <p:tav tm="5620">
                                          <p:val>
                                            <p:fltVal val="0.9913"/>
                                          </p:val>
                                        </p:tav>
                                        <p:tav tm="6740">
                                          <p:val>
                                            <p:fltVal val="0.985"/>
                                          </p:val>
                                        </p:tav>
                                        <p:tav tm="7870">
                                          <p:val>
                                            <p:fltVal val="0.9763"/>
                                          </p:val>
                                        </p:tav>
                                        <p:tav tm="8990">
                                          <p:val>
                                            <p:fltVal val="0.9646"/>
                                          </p:val>
                                        </p:tav>
                                        <p:tav tm="10110">
                                          <p:val>
                                            <p:fltVal val="0.9497"/>
                                          </p:val>
                                        </p:tav>
                                        <p:tav tm="11240">
                                          <p:val>
                                            <p:fltVal val="0.9348"/>
                                          </p:val>
                                        </p:tav>
                                        <p:tav tm="12360">
                                          <p:val>
                                            <p:fltVal val="0.9232"/>
                                          </p:val>
                                        </p:tav>
                                        <p:tav tm="13480">
                                          <p:val>
                                            <p:fltVal val="0.9146"/>
                                          </p:val>
                                        </p:tav>
                                        <p:tav tm="14610">
                                          <p:val>
                                            <p:fltVal val="0.9084"/>
                                          </p:val>
                                        </p:tav>
                                        <p:tav tm="15730">
                                          <p:val>
                                            <p:fltVal val="0.9042"/>
                                          </p:val>
                                        </p:tav>
                                        <p:tav tm="16850">
                                          <p:val>
                                            <p:fltVal val="0.9017"/>
                                          </p:val>
                                        </p:tav>
                                        <p:tav tm="17980">
                                          <p:val>
                                            <p:fltVal val="0.9005"/>
                                          </p:val>
                                        </p:tav>
                                        <p:tav tm="19100">
                                          <p:val>
                                            <p:fltVal val="0.9"/>
                                          </p:val>
                                        </p:tav>
                                        <p:tav tm="20220">
                                          <p:val>
                                            <p:fltVal val="0.8999"/>
                                          </p:val>
                                        </p:tav>
                                        <p:tav tm="21350">
                                          <p:val>
                                            <p:fltVal val="0.9006"/>
                                          </p:val>
                                        </p:tav>
                                        <p:tav tm="22470">
                                          <p:val>
                                            <p:fltVal val="0.9046"/>
                                          </p:val>
                                        </p:tav>
                                        <p:tav tm="23600">
                                          <p:val>
                                            <p:fltVal val="0.9153"/>
                                          </p:val>
                                        </p:tav>
                                        <p:tav tm="24720">
                                          <p:val>
                                            <p:fltVal val="0.9362"/>
                                          </p:val>
                                        </p:tav>
                                        <p:tav tm="25840">
                                          <p:val>
                                            <p:fltVal val="0.9659"/>
                                          </p:val>
                                        </p:tav>
                                        <p:tav tm="26970">
                                          <p:val>
                                            <p:fltVal val="0.9858"/>
                                          </p:val>
                                        </p:tav>
                                        <p:tav tm="28090">
                                          <p:val>
                                            <p:fltVal val="0.9959"/>
                                          </p:val>
                                        </p:tav>
                                        <p:tav tm="29210">
                                          <p:val>
                                            <p:fltVal val="0.9995"/>
                                          </p:val>
                                        </p:tav>
                                        <p:tav tm="30340">
                                          <p:val>
                                            <p:fltVal val="1"/>
                                          </p:val>
                                        </p:tav>
                                        <p:tav tm="31460">
                                          <p:val>
                                            <p:fltVal val="1"/>
                                          </p:val>
                                        </p:tav>
                                        <p:tav tm="32580">
                                          <p:val>
                                            <p:fltVal val="1"/>
                                          </p:val>
                                        </p:tav>
                                        <p:tav tm="33710">
                                          <p:val>
                                            <p:fltVal val="1"/>
                                          </p:val>
                                        </p:tav>
                                        <p:tav tm="34830">
                                          <p:val>
                                            <p:fltVal val="1"/>
                                          </p:val>
                                        </p:tav>
                                        <p:tav tm="35960">
                                          <p:val>
                                            <p:fltVal val="1"/>
                                          </p:val>
                                        </p:tav>
                                        <p:tav tm="37080">
                                          <p:val>
                                            <p:fltVal val="1"/>
                                          </p:val>
                                        </p:tav>
                                        <p:tav tm="38200">
                                          <p:val>
                                            <p:fltVal val="1"/>
                                          </p:val>
                                        </p:tav>
                                        <p:tav tm="39330">
                                          <p:val>
                                            <p:fltVal val="1"/>
                                          </p:val>
                                        </p:tav>
                                        <p:tav tm="40450">
                                          <p:val>
                                            <p:fltVal val="1"/>
                                          </p:val>
                                        </p:tav>
                                        <p:tav tm="41570">
                                          <p:val>
                                            <p:fltVal val="1"/>
                                          </p:val>
                                        </p:tav>
                                        <p:tav tm="42700">
                                          <p:val>
                                            <p:fltVal val="1"/>
                                          </p:val>
                                        </p:tav>
                                        <p:tav tm="43820">
                                          <p:val>
                                            <p:fltVal val="1"/>
                                          </p:val>
                                        </p:tav>
                                        <p:tav tm="44940">
                                          <p:val>
                                            <p:fltVal val="1"/>
                                          </p:val>
                                        </p:tav>
                                        <p:tav tm="46070">
                                          <p:val>
                                            <p:fltVal val="1"/>
                                          </p:val>
                                        </p:tav>
                                        <p:tav tm="47190">
                                          <p:val>
                                            <p:fltVal val="1"/>
                                          </p:val>
                                        </p:tav>
                                        <p:tav tm="48310">
                                          <p:val>
                                            <p:fltVal val="1"/>
                                          </p:val>
                                        </p:tav>
                                        <p:tav tm="49440">
                                          <p:val>
                                            <p:fltVal val="1"/>
                                          </p:val>
                                        </p:tav>
                                        <p:tav tm="50560">
                                          <p:val>
                                            <p:fltVal val="1"/>
                                          </p:val>
                                        </p:tav>
                                        <p:tav tm="51690">
                                          <p:val>
                                            <p:fltVal val="1"/>
                                          </p:val>
                                        </p:tav>
                                        <p:tav tm="52810">
                                          <p:val>
                                            <p:fltVal val="1"/>
                                          </p:val>
                                        </p:tav>
                                        <p:tav tm="53930">
                                          <p:val>
                                            <p:fltVal val="1"/>
                                          </p:val>
                                        </p:tav>
                                        <p:tav tm="55060">
                                          <p:val>
                                            <p:fltVal val="1"/>
                                          </p:val>
                                        </p:tav>
                                        <p:tav tm="56180">
                                          <p:val>
                                            <p:fltVal val="1"/>
                                          </p:val>
                                        </p:tav>
                                        <p:tav tm="57300">
                                          <p:val>
                                            <p:fltVal val="1"/>
                                          </p:val>
                                        </p:tav>
                                        <p:tav tm="58430">
                                          <p:val>
                                            <p:fltVal val="1"/>
                                          </p:val>
                                        </p:tav>
                                        <p:tav tm="59550">
                                          <p:val>
                                            <p:fltVal val="1"/>
                                          </p:val>
                                        </p:tav>
                                        <p:tav tm="60670">
                                          <p:val>
                                            <p:fltVal val="1"/>
                                          </p:val>
                                        </p:tav>
                                        <p:tav tm="61800">
                                          <p:val>
                                            <p:fltVal val="1"/>
                                          </p:val>
                                        </p:tav>
                                        <p:tav tm="62920">
                                          <p:val>
                                            <p:fltVal val="1"/>
                                          </p:val>
                                        </p:tav>
                                        <p:tav tm="64040">
                                          <p:val>
                                            <p:fltVal val="1"/>
                                          </p:val>
                                        </p:tav>
                                        <p:tav tm="65170">
                                          <p:val>
                                            <p:fltVal val="1"/>
                                          </p:val>
                                        </p:tav>
                                        <p:tav tm="66290">
                                          <p:val>
                                            <p:fltVal val="1"/>
                                          </p:val>
                                        </p:tav>
                                        <p:tav tm="67420">
                                          <p:val>
                                            <p:fltVal val="0.9998"/>
                                          </p:val>
                                        </p:tav>
                                        <p:tav tm="68540">
                                          <p:val>
                                            <p:fltVal val="0.9987"/>
                                          </p:val>
                                        </p:tav>
                                        <p:tav tm="69660">
                                          <p:val>
                                            <p:fltVal val="0.9955"/>
                                          </p:val>
                                        </p:tav>
                                        <p:tav tm="70790">
                                          <p:val>
                                            <p:fltVal val="0.9888"/>
                                          </p:val>
                                        </p:tav>
                                        <p:tav tm="71910">
                                          <p:val>
                                            <p:fltVal val="0.9775"/>
                                          </p:val>
                                        </p:tav>
                                        <p:tav tm="73030">
                                          <p:val>
                                            <p:fltVal val="0.9605"/>
                                          </p:val>
                                        </p:tav>
                                        <p:tav tm="74160">
                                          <p:val>
                                            <p:fltVal val="0.9385"/>
                                          </p:val>
                                        </p:tav>
                                        <p:tav tm="75280">
                                          <p:val>
                                            <p:fltVal val="0.9217"/>
                                          </p:val>
                                        </p:tav>
                                        <p:tav tm="76400">
                                          <p:val>
                                            <p:fltVal val="0.9107"/>
                                          </p:val>
                                        </p:tav>
                                        <p:tav tm="77530">
                                          <p:val>
                                            <p:fltVal val="0.9042"/>
                                          </p:val>
                                        </p:tav>
                                        <p:tav tm="78650">
                                          <p:val>
                                            <p:fltVal val="0.901"/>
                                          </p:val>
                                        </p:tav>
                                        <p:tav tm="79780">
                                          <p:val>
                                            <p:fltVal val="0.9"/>
                                          </p:val>
                                        </p:tav>
                                        <p:tav tm="80900">
                                          <p:val>
                                            <p:fltVal val="0.9"/>
                                          </p:val>
                                        </p:tav>
                                        <p:tav tm="82020">
                                          <p:val>
                                            <p:fltVal val="0.901"/>
                                          </p:val>
                                        </p:tav>
                                        <p:tav tm="83150">
                                          <p:val>
                                            <p:fltVal val="0.9061"/>
                                          </p:val>
                                        </p:tav>
                                        <p:tav tm="84270">
                                          <p:val>
                                            <p:fltVal val="0.9186"/>
                                          </p:val>
                                        </p:tav>
                                        <p:tav tm="85390">
                                          <p:val>
                                            <p:fltVal val="0.942"/>
                                          </p:val>
                                        </p:tav>
                                        <p:tav tm="86520">
                                          <p:val>
                                            <p:fltVal val="0.9709"/>
                                          </p:val>
                                        </p:tav>
                                        <p:tav tm="87640">
                                          <p:val>
                                            <p:fltVal val="0.9885"/>
                                          </p:val>
                                        </p:tav>
                                        <p:tav tm="88760">
                                          <p:val>
                                            <p:fltVal val="0.997"/>
                                          </p:val>
                                        </p:tav>
                                        <p:tav tm="89890">
                                          <p:val>
                                            <p:fltVal val="0.9997"/>
                                          </p:val>
                                        </p:tav>
                                        <p:tav tm="91010">
                                          <p:val>
                                            <p:fltVal val="1"/>
                                          </p:val>
                                        </p:tav>
                                        <p:tav tm="92130">
                                          <p:val>
                                            <p:fltVal val="1"/>
                                          </p:val>
                                        </p:tav>
                                        <p:tav tm="93260">
                                          <p:val>
                                            <p:fltVal val="1"/>
                                          </p:val>
                                        </p:tav>
                                        <p:tav tm="94380">
                                          <p:val>
                                            <p:fltVal val="1"/>
                                          </p:val>
                                        </p:tav>
                                        <p:tav tm="95510">
                                          <p:val>
                                            <p:fltVal val="1"/>
                                          </p:val>
                                        </p:tav>
                                        <p:tav tm="96630">
                                          <p:val>
                                            <p:fltVal val="1"/>
                                          </p:val>
                                        </p:tav>
                                        <p:tav tm="97750">
                                          <p:val>
                                            <p:fltVal val="1"/>
                                          </p:val>
                                        </p:tav>
                                        <p:tav tm="98880">
                                          <p:val>
                                            <p:fltVal val="1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2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3d.object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1120">
                                          <p:val>
                                            <p:fltVal val="1"/>
                                          </p:val>
                                        </p:tav>
                                        <p:tav tm="2250">
                                          <p:val>
                                            <p:fltVal val="1.0002"/>
                                          </p:val>
                                        </p:tav>
                                        <p:tav tm="3370">
                                          <p:val>
                                            <p:fltVal val="1.0009"/>
                                          </p:val>
                                        </p:tav>
                                        <p:tav tm="4490">
                                          <p:val>
                                            <p:fltVal val="1.0023"/>
                                          </p:val>
                                        </p:tav>
                                        <p:tav tm="5620">
                                          <p:val>
                                            <p:fltVal val="1.0046"/>
                                          </p:val>
                                        </p:tav>
                                        <p:tav tm="6740">
                                          <p:val>
                                            <p:fltVal val="1.008"/>
                                          </p:val>
                                        </p:tav>
                                        <p:tav tm="7870">
                                          <p:val>
                                            <p:fltVal val="1.0127"/>
                                          </p:val>
                                        </p:tav>
                                        <p:tav tm="8990">
                                          <p:val>
                                            <p:fltVal val="1.019"/>
                                          </p:val>
                                        </p:tav>
                                        <p:tav tm="10110">
                                          <p:val>
                                            <p:fltVal val="1.0271"/>
                                          </p:val>
                                        </p:tav>
                                        <p:tav tm="11240">
                                          <p:val>
                                            <p:fltVal val="1.0351"/>
                                          </p:val>
                                        </p:tav>
                                        <p:tav tm="12360">
                                          <p:val>
                                            <p:fltVal val="1.0414"/>
                                          </p:val>
                                        </p:tav>
                                        <p:tav tm="13480">
                                          <p:val>
                                            <p:fltVal val="1.046"/>
                                          </p:val>
                                        </p:tav>
                                        <p:tav tm="14610">
                                          <p:val>
                                            <p:fltVal val="1.0494"/>
                                          </p:val>
                                        </p:tav>
                                        <p:tav tm="15730">
                                          <p:val>
                                            <p:fltVal val="1.0516"/>
                                          </p:val>
                                        </p:tav>
                                        <p:tav tm="16850">
                                          <p:val>
                                            <p:fltVal val="1.053"/>
                                          </p:val>
                                        </p:tav>
                                        <p:tav tm="17980">
                                          <p:val>
                                            <p:fltVal val="1.0537"/>
                                          </p:val>
                                        </p:tav>
                                        <p:tav tm="19100">
                                          <p:val>
                                            <p:fltVal val="1.0539"/>
                                          </p:val>
                                        </p:tav>
                                        <p:tav tm="20220">
                                          <p:val>
                                            <p:fltVal val="1.054"/>
                                          </p:val>
                                        </p:tav>
                                        <p:tav tm="21350">
                                          <p:val>
                                            <p:fltVal val="1.0536"/>
                                          </p:val>
                                        </p:tav>
                                        <p:tav tm="22470">
                                          <p:val>
                                            <p:fltVal val="1.0515"/>
                                          </p:val>
                                        </p:tav>
                                        <p:tav tm="23600">
                                          <p:val>
                                            <p:fltVal val="1.0457"/>
                                          </p:val>
                                        </p:tav>
                                        <p:tav tm="24720">
                                          <p:val>
                                            <p:fltVal val="1.0344"/>
                                          </p:val>
                                        </p:tav>
                                        <p:tav tm="25840">
                                          <p:val>
                                            <p:fltVal val="1.0183"/>
                                          </p:val>
                                        </p:tav>
                                        <p:tav tm="26970">
                                          <p:val>
                                            <p:fltVal val="1.0076"/>
                                          </p:val>
                                        </p:tav>
                                        <p:tav tm="28090">
                                          <p:val>
                                            <p:fltVal val="1.0021"/>
                                          </p:val>
                                        </p:tav>
                                        <p:tav tm="29210">
                                          <p:val>
                                            <p:fltVal val="1.0002"/>
                                          </p:val>
                                        </p:tav>
                                        <p:tav tm="30340">
                                          <p:val>
                                            <p:fltVal val="1"/>
                                          </p:val>
                                        </p:tav>
                                        <p:tav tm="31460">
                                          <p:val>
                                            <p:fltVal val="1"/>
                                          </p:val>
                                        </p:tav>
                                        <p:tav tm="32580">
                                          <p:val>
                                            <p:fltVal val="1"/>
                                          </p:val>
                                        </p:tav>
                                        <p:tav tm="33710">
                                          <p:val>
                                            <p:fltVal val="1"/>
                                          </p:val>
                                        </p:tav>
                                        <p:tav tm="34830">
                                          <p:val>
                                            <p:fltVal val="1"/>
                                          </p:val>
                                        </p:tav>
                                        <p:tav tm="35960">
                                          <p:val>
                                            <p:fltVal val="1"/>
                                          </p:val>
                                        </p:tav>
                                        <p:tav tm="37080">
                                          <p:val>
                                            <p:fltVal val="1"/>
                                          </p:val>
                                        </p:tav>
                                        <p:tav tm="38200">
                                          <p:val>
                                            <p:fltVal val="1"/>
                                          </p:val>
                                        </p:tav>
                                        <p:tav tm="39330">
                                          <p:val>
                                            <p:fltVal val="1"/>
                                          </p:val>
                                        </p:tav>
                                        <p:tav tm="40450">
                                          <p:val>
                                            <p:fltVal val="1"/>
                                          </p:val>
                                        </p:tav>
                                        <p:tav tm="41570">
                                          <p:val>
                                            <p:fltVal val="1"/>
                                          </p:val>
                                        </p:tav>
                                        <p:tav tm="42700">
                                          <p:val>
                                            <p:fltVal val="1"/>
                                          </p:val>
                                        </p:tav>
                                        <p:tav tm="43820">
                                          <p:val>
                                            <p:fltVal val="1"/>
                                          </p:val>
                                        </p:tav>
                                        <p:tav tm="44940">
                                          <p:val>
                                            <p:fltVal val="1"/>
                                          </p:val>
                                        </p:tav>
                                        <p:tav tm="46070">
                                          <p:val>
                                            <p:fltVal val="1"/>
                                          </p:val>
                                        </p:tav>
                                        <p:tav tm="47190">
                                          <p:val>
                                            <p:fltVal val="1"/>
                                          </p:val>
                                        </p:tav>
                                        <p:tav tm="48310">
                                          <p:val>
                                            <p:fltVal val="1"/>
                                          </p:val>
                                        </p:tav>
                                        <p:tav tm="49440">
                                          <p:val>
                                            <p:fltVal val="1"/>
                                          </p:val>
                                        </p:tav>
                                        <p:tav tm="50560">
                                          <p:val>
                                            <p:fltVal val="1"/>
                                          </p:val>
                                        </p:tav>
                                        <p:tav tm="51690">
                                          <p:val>
                                            <p:fltVal val="1"/>
                                          </p:val>
                                        </p:tav>
                                        <p:tav tm="52810">
                                          <p:val>
                                            <p:fltVal val="1"/>
                                          </p:val>
                                        </p:tav>
                                        <p:tav tm="53930">
                                          <p:val>
                                            <p:fltVal val="1"/>
                                          </p:val>
                                        </p:tav>
                                        <p:tav tm="55060">
                                          <p:val>
                                            <p:fltVal val="1"/>
                                          </p:val>
                                        </p:tav>
                                        <p:tav tm="56180">
                                          <p:val>
                                            <p:fltVal val="1"/>
                                          </p:val>
                                        </p:tav>
                                        <p:tav tm="57300">
                                          <p:val>
                                            <p:fltVal val="1"/>
                                          </p:val>
                                        </p:tav>
                                        <p:tav tm="58430">
                                          <p:val>
                                            <p:fltVal val="1"/>
                                          </p:val>
                                        </p:tav>
                                        <p:tav tm="59550">
                                          <p:val>
                                            <p:fltVal val="1"/>
                                          </p:val>
                                        </p:tav>
                                        <p:tav tm="60670">
                                          <p:val>
                                            <p:fltVal val="1"/>
                                          </p:val>
                                        </p:tav>
                                        <p:tav tm="61800">
                                          <p:val>
                                            <p:fltVal val="1"/>
                                          </p:val>
                                        </p:tav>
                                        <p:tav tm="62920">
                                          <p:val>
                                            <p:fltVal val="1"/>
                                          </p:val>
                                        </p:tav>
                                        <p:tav tm="64040">
                                          <p:val>
                                            <p:fltVal val="1"/>
                                          </p:val>
                                        </p:tav>
                                        <p:tav tm="65170">
                                          <p:val>
                                            <p:fltVal val="1"/>
                                          </p:val>
                                        </p:tav>
                                        <p:tav tm="66290">
                                          <p:val>
                                            <p:fltVal val="1"/>
                                          </p:val>
                                        </p:tav>
                                        <p:tav tm="67420">
                                          <p:val>
                                            <p:fltVal val="1"/>
                                          </p:val>
                                        </p:tav>
                                        <p:tav tm="68540">
                                          <p:val>
                                            <p:fltVal val="1.0006"/>
                                          </p:val>
                                        </p:tav>
                                        <p:tav tm="69660">
                                          <p:val>
                                            <p:fltVal val="1.0024"/>
                                          </p:val>
                                        </p:tav>
                                        <p:tav tm="70790">
                                          <p:val>
                                            <p:fltVal val="1.006"/>
                                          </p:val>
                                        </p:tav>
                                        <p:tav tm="71910">
                                          <p:val>
                                            <p:fltVal val="1.0121"/>
                                          </p:val>
                                        </p:tav>
                                        <p:tav tm="73030">
                                          <p:val>
                                            <p:fltVal val="1.0213"/>
                                          </p:val>
                                        </p:tav>
                                        <p:tav tm="74160">
                                          <p:val>
                                            <p:fltVal val="1.0331"/>
                                          </p:val>
                                        </p:tav>
                                        <p:tav tm="75280">
                                          <p:val>
                                            <p:fltVal val="1.0422"/>
                                          </p:val>
                                        </p:tav>
                                        <p:tav tm="76400">
                                          <p:val>
                                            <p:fltVal val="1.0482"/>
                                          </p:val>
                                        </p:tav>
                                        <p:tav tm="77530">
                                          <p:val>
                                            <p:fltVal val="1.0516"/>
                                          </p:val>
                                        </p:tav>
                                        <p:tav tm="78650">
                                          <p:val>
                                            <p:fltVal val="1.0534"/>
                                          </p:val>
                                        </p:tav>
                                        <p:tav tm="79780">
                                          <p:val>
                                            <p:fltVal val="1.0539"/>
                                          </p:val>
                                        </p:tav>
                                        <p:tav tm="80900">
                                          <p:val>
                                            <p:fltVal val="1.0539"/>
                                          </p:val>
                                        </p:tav>
                                        <p:tav tm="82020">
                                          <p:val>
                                            <p:fltVal val="1.0534"/>
                                          </p:val>
                                        </p:tav>
                                        <p:tav tm="83150">
                                          <p:val>
                                            <p:fltVal val="1.0506"/>
                                          </p:val>
                                        </p:tav>
                                        <p:tav tm="84270">
                                          <p:val>
                                            <p:fltVal val="1.0439"/>
                                          </p:val>
                                        </p:tav>
                                        <p:tav tm="85390">
                                          <p:val>
                                            <p:fltVal val="1.0312"/>
                                          </p:val>
                                        </p:tav>
                                        <p:tav tm="86520">
                                          <p:val>
                                            <p:fltVal val="1.0156"/>
                                          </p:val>
                                        </p:tav>
                                        <p:tav tm="87640">
                                          <p:val>
                                            <p:fltVal val="1.0061"/>
                                          </p:val>
                                        </p:tav>
                                        <p:tav tm="88760">
                                          <p:val>
                                            <p:fltVal val="1.0015"/>
                                          </p:val>
                                        </p:tav>
                                        <p:tav tm="89890">
                                          <p:val>
                                            <p:fltVal val="1.0001"/>
                                          </p:val>
                                        </p:tav>
                                        <p:tav tm="91010">
                                          <p:val>
                                            <p:fltVal val="1"/>
                                          </p:val>
                                        </p:tav>
                                        <p:tav tm="92130">
                                          <p:val>
                                            <p:fltVal val="1"/>
                                          </p:val>
                                        </p:tav>
                                        <p:tav tm="93260">
                                          <p:val>
                                            <p:fltVal val="1"/>
                                          </p:val>
                                        </p:tav>
                                        <p:tav tm="94380">
                                          <p:val>
                                            <p:fltVal val="1"/>
                                          </p:val>
                                        </p:tav>
                                        <p:tav tm="95510">
                                          <p:val>
                                            <p:fltVal val="1"/>
                                          </p:val>
                                        </p:tav>
                                        <p:tav tm="96630">
                                          <p:val>
                                            <p:fltVal val="1"/>
                                          </p:val>
                                        </p:tav>
                                        <p:tav tm="97750">
                                          <p:val>
                                            <p:fltVal val="1"/>
                                          </p:val>
                                        </p:tav>
                                        <p:tav tm="98880">
                                          <p:val>
                                            <p:fltVal val="1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87863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335087" y="581736"/>
            <a:ext cx="4182322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000"/>
              </a:lnSpc>
            </a:pP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ượ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iểu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à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“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ập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ợp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ột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ố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ạ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giấy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hất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ị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ượ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in ra,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óng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ạ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ớ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nhau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hà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ột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uốn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”. Tuy nhiên đây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hỉ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à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ị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ghĩa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hằm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ễn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ả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ì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hứ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bên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goà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ủa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ị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ghĩa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úng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hất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ề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ó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hể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iểu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à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ột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ạ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ì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ưu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rữ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ủa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con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gườ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bao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gồm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á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văn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bản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ì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ả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ượ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iết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tay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oặ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in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ấn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à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gần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đây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à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ượ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ạo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ra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hờ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á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công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ụ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áy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ín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ược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gọi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à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điện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ử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hay </a:t>
            </a:r>
            <a:r>
              <a:rPr lang="vi-VN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book</a:t>
            </a:r>
            <a:r>
              <a:rPr lang="vi-VN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</a:p>
        </p:txBody>
      </p:sp>
      <p:sp>
        <p:nvSpPr>
          <p:cNvPr id="2" name="Rectangle 1"/>
          <p:cNvSpPr/>
          <p:nvPr/>
        </p:nvSpPr>
        <p:spPr>
          <a:xfrm>
            <a:off x="6169410" y="58056"/>
            <a:ext cx="5979048" cy="373742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err="1"/>
              <a:t>Sách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gì</a:t>
            </a:r>
            <a:r>
              <a:rPr lang="en-US" dirty="0"/>
              <a:t>?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heo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điển</a:t>
            </a:r>
            <a:r>
              <a:rPr lang="en-US" dirty="0"/>
              <a:t> </a:t>
            </a:r>
            <a:r>
              <a:rPr lang="en-US" dirty="0" err="1"/>
              <a:t>Tiếng</a:t>
            </a:r>
            <a:r>
              <a:rPr lang="en-US" dirty="0"/>
              <a:t> </a:t>
            </a:r>
            <a:r>
              <a:rPr lang="en-US" dirty="0" err="1"/>
              <a:t>Việt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6169410" y="58056"/>
            <a:ext cx="5979048" cy="373742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415501" y="787400"/>
            <a:ext cx="5979048" cy="3737429"/>
          </a:xfrm>
          <a:prstGeom prst="rect">
            <a:avLst/>
          </a:prstGeom>
          <a:noFill/>
          <a:ln w="127000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Chỗ dành sẵn cho Hình ảnh 16" descr="Ảnh có chứa văn bản&#10;&#10;Mô tả được tạo tự động">
            <a:extLst>
              <a:ext uri="{FF2B5EF4-FFF2-40B4-BE49-F238E27FC236}">
                <a16:creationId xmlns:a16="http://schemas.microsoft.com/office/drawing/2014/main" id="{A2938A3E-8C8F-717F-12CE-1810F5273FB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l="7169" r="7169"/>
          <a:stretch>
            <a:fillRect/>
          </a:stretch>
        </p:blipFill>
        <p:spPr bwMode="auto">
          <a:xfrm>
            <a:off x="5478463" y="0"/>
            <a:ext cx="6713537" cy="447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543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525674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Hình ảnh 1">
            <a:extLst>
              <a:ext uri="{FF2B5EF4-FFF2-40B4-BE49-F238E27FC236}">
                <a16:creationId xmlns:a16="http://schemas.microsoft.com/office/drawing/2014/main" id="{CD747017-D902-04AF-DBAC-CD9546756E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21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958828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Slide Number Placeholder 5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8044543" y="1659467"/>
            <a:ext cx="3847419" cy="939473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000"/>
              </a:lnSpc>
            </a:pP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rong văn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hóa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ừ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xưa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giờ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,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cuốn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sách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luôn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ạo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ra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cảm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giác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kết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nối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trong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xã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hội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khi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nó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hường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xuyên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được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sử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dụng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như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một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cách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để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hể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hiện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kiến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hức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và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rí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uệ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. Đây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là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lý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do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rất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nhiều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gia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đình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có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địa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vị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đã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từng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trưng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bày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những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thư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viện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lớn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 trong </a:t>
            </a:r>
            <a:r>
              <a:rPr lang="vi-VN" sz="1600" b="0" i="0" dirty="0" err="1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nhà</a:t>
            </a:r>
            <a:r>
              <a:rPr lang="vi-VN" sz="1600" b="0" i="0" dirty="0">
                <a:solidFill>
                  <a:srgbClr val="292929"/>
                </a:solidFill>
                <a:effectLst/>
                <a:latin typeface="Merriweather" panose="020B0604020202020204" pitchFamily="2" charset="0"/>
              </a:rPr>
              <a:t>. </a:t>
            </a:r>
            <a:endParaRPr lang="en-US" sz="20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80" name="Content Placeholder 15"/>
          <p:cNvSpPr txBox="1">
            <a:spLocks/>
          </p:cNvSpPr>
          <p:nvPr/>
        </p:nvSpPr>
        <p:spPr>
          <a:xfrm>
            <a:off x="8044544" y="943429"/>
            <a:ext cx="3847419" cy="4197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000" b="1" i="0" kern="1200" baseline="0" dirty="0" smtClean="0">
                <a:solidFill>
                  <a:srgbClr val="1A2530"/>
                </a:solidFill>
                <a:uFillTx/>
                <a:latin typeface="Source Sans Pro Semibold" panose="020B06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tx1"/>
                </a:solidFill>
              </a:rPr>
              <a:t>Cả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iác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ủ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ự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ở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hữu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8" name="Content Placeholder 15"/>
          <p:cNvSpPr txBox="1">
            <a:spLocks/>
          </p:cNvSpPr>
          <p:nvPr/>
        </p:nvSpPr>
        <p:spPr>
          <a:xfrm>
            <a:off x="5052786" y="1154910"/>
            <a:ext cx="2351313" cy="46166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800" dirty="0" err="1">
                <a:solidFill>
                  <a:schemeClr val="tx1"/>
                </a:solidFill>
              </a:rPr>
              <a:t>Sách</a:t>
            </a:r>
            <a:r>
              <a:rPr lang="en-US" sz="4800" dirty="0">
                <a:solidFill>
                  <a:schemeClr val="tx1"/>
                </a:solidFill>
              </a:rPr>
              <a:t> </a:t>
            </a:r>
            <a:r>
              <a:rPr lang="en-US" sz="4800" dirty="0" err="1">
                <a:solidFill>
                  <a:schemeClr val="tx1"/>
                </a:solidFill>
              </a:rPr>
              <a:t>giấy</a:t>
            </a:r>
            <a:r>
              <a:rPr lang="en-US" sz="4800" dirty="0">
                <a:solidFill>
                  <a:schemeClr val="tx1"/>
                </a:solidFill>
              </a:rPr>
              <a:t> </a:t>
            </a:r>
            <a:r>
              <a:rPr lang="en-US" sz="4800" dirty="0" err="1">
                <a:solidFill>
                  <a:schemeClr val="tx1"/>
                </a:solidFill>
              </a:rPr>
              <a:t>đem</a:t>
            </a:r>
            <a:r>
              <a:rPr lang="en-US" sz="4800" dirty="0">
                <a:solidFill>
                  <a:schemeClr val="tx1"/>
                </a:solidFill>
              </a:rPr>
              <a:t> </a:t>
            </a:r>
            <a:r>
              <a:rPr lang="en-US" sz="4800" dirty="0" err="1">
                <a:solidFill>
                  <a:schemeClr val="tx1"/>
                </a:solidFill>
              </a:rPr>
              <a:t>lại</a:t>
            </a:r>
            <a:r>
              <a:rPr lang="en-US" sz="4800" dirty="0">
                <a:solidFill>
                  <a:schemeClr val="tx1"/>
                </a:solidFill>
              </a:rPr>
              <a:t> </a:t>
            </a:r>
            <a:r>
              <a:rPr lang="en-US" sz="4800" dirty="0" err="1">
                <a:solidFill>
                  <a:schemeClr val="tx1"/>
                </a:solidFill>
              </a:rPr>
              <a:t>những</a:t>
            </a:r>
            <a:r>
              <a:rPr lang="en-US" sz="4800" dirty="0">
                <a:solidFill>
                  <a:schemeClr val="tx1"/>
                </a:solidFill>
              </a:rPr>
              <a:t> </a:t>
            </a:r>
            <a:r>
              <a:rPr lang="en-US" sz="4800" dirty="0" err="1">
                <a:solidFill>
                  <a:schemeClr val="tx1"/>
                </a:solidFill>
              </a:rPr>
              <a:t>gì</a:t>
            </a:r>
            <a:r>
              <a:rPr lang="en-US" sz="4800" dirty="0">
                <a:solidFill>
                  <a:schemeClr val="tx1"/>
                </a:solidFill>
              </a:rPr>
              <a:t>?</a:t>
            </a:r>
          </a:p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" name="Chỗ dành sẵn cho Hình ảnh 6" descr="Ảnh có chứa văn bản, trong nhà, sàn, cuộc sống&#10;&#10;Mô tả được tạo tự động">
            <a:extLst>
              <a:ext uri="{FF2B5EF4-FFF2-40B4-BE49-F238E27FC236}">
                <a16:creationId xmlns:a16="http://schemas.microsoft.com/office/drawing/2014/main" id="{2CC6271D-F312-79B0-08B6-05091FDA3B1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l="26577" r="26577"/>
          <a:stretch>
            <a:fillRect/>
          </a:stretch>
        </p:blipFill>
        <p:spPr>
          <a:xfrm>
            <a:off x="0" y="0"/>
            <a:ext cx="5191932" cy="6858000"/>
          </a:xfrm>
        </p:spPr>
      </p:pic>
      <p:sp>
        <p:nvSpPr>
          <p:cNvPr id="30" name="Rectangle 29"/>
          <p:cNvSpPr/>
          <p:nvPr/>
        </p:nvSpPr>
        <p:spPr>
          <a:xfrm>
            <a:off x="3811813" y="943429"/>
            <a:ext cx="3846286" cy="4281714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13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7" name="Rectangle 1036">
            <a:extLst>
              <a:ext uri="{FF2B5EF4-FFF2-40B4-BE49-F238E27FC236}">
                <a16:creationId xmlns:a16="http://schemas.microsoft.com/office/drawing/2014/main" id="{6C2997EE-0889-44C3-AC0D-18F26AC9AA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Nhà của Bill Gates: 10 điều thú vị có thể bạn chưa biết">
            <a:extLst>
              <a:ext uri="{FF2B5EF4-FFF2-40B4-BE49-F238E27FC236}">
                <a16:creationId xmlns:a16="http://schemas.microsoft.com/office/drawing/2014/main" id="{A1FFBCF8-FA21-285B-2730-5BAD090845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88" r="-3" b="7760"/>
          <a:stretch/>
        </p:blipFill>
        <p:spPr bwMode="auto">
          <a:xfrm>
            <a:off x="20" y="10"/>
            <a:ext cx="7215381" cy="2969294"/>
          </a:xfrm>
          <a:custGeom>
            <a:avLst/>
            <a:gdLst/>
            <a:ahLst/>
            <a:cxnLst/>
            <a:rect l="l" t="t" r="r" b="b"/>
            <a:pathLst>
              <a:path w="7215401" h="2969304">
                <a:moveTo>
                  <a:pt x="0" y="0"/>
                </a:moveTo>
                <a:lnTo>
                  <a:pt x="677334" y="0"/>
                </a:lnTo>
                <a:lnTo>
                  <a:pt x="1168036" y="0"/>
                </a:lnTo>
                <a:lnTo>
                  <a:pt x="1205499" y="0"/>
                </a:lnTo>
                <a:lnTo>
                  <a:pt x="1647632" y="0"/>
                </a:lnTo>
                <a:lnTo>
                  <a:pt x="7215401" y="0"/>
                </a:lnTo>
                <a:lnTo>
                  <a:pt x="5840224" y="2969304"/>
                </a:lnTo>
                <a:lnTo>
                  <a:pt x="0" y="296930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Khi xảy ra nguy hiểm, bạn muốn có 'phòng bí mật'? 22 cánh cửa ngầm này sẽ  khiến bạn kinh ngạc » Cập nhật tin tức Công Nghệ mới nhất |  Trangcongnghe.com">
            <a:extLst>
              <a:ext uri="{FF2B5EF4-FFF2-40B4-BE49-F238E27FC236}">
                <a16:creationId xmlns:a16="http://schemas.microsoft.com/office/drawing/2014/main" id="{C3737658-61EF-F88D-3F5D-E98A4F3CF1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01" r="-1" b="20637"/>
          <a:stretch/>
        </p:blipFill>
        <p:spPr bwMode="auto">
          <a:xfrm>
            <a:off x="5622233" y="10"/>
            <a:ext cx="6569769" cy="3750724"/>
          </a:xfrm>
          <a:custGeom>
            <a:avLst/>
            <a:gdLst/>
            <a:ahLst/>
            <a:cxnLst/>
            <a:rect l="l" t="t" r="r" b="b"/>
            <a:pathLst>
              <a:path w="6569769" h="3750734">
                <a:moveTo>
                  <a:pt x="1738471" y="0"/>
                </a:moveTo>
                <a:lnTo>
                  <a:pt x="6569769" y="0"/>
                </a:lnTo>
                <a:lnTo>
                  <a:pt x="6569769" y="3750734"/>
                </a:lnTo>
                <a:lnTo>
                  <a:pt x="0" y="375073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àm cách nào để chọn kệ sách đẹp và phù hợp với căn hộ nhỏ?">
            <a:extLst>
              <a:ext uri="{FF2B5EF4-FFF2-40B4-BE49-F238E27FC236}">
                <a16:creationId xmlns:a16="http://schemas.microsoft.com/office/drawing/2014/main" id="{E57596A1-DA5A-9072-1A7A-39531E3765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87" b="32853"/>
          <a:stretch/>
        </p:blipFill>
        <p:spPr bwMode="auto">
          <a:xfrm>
            <a:off x="4182011" y="3887894"/>
            <a:ext cx="8009991" cy="2970106"/>
          </a:xfrm>
          <a:custGeom>
            <a:avLst/>
            <a:gdLst/>
            <a:ahLst/>
            <a:cxnLst/>
            <a:rect l="l" t="t" r="r" b="b"/>
            <a:pathLst>
              <a:path w="8009991" h="2970106">
                <a:moveTo>
                  <a:pt x="1376648" y="0"/>
                </a:moveTo>
                <a:lnTo>
                  <a:pt x="8009991" y="0"/>
                </a:lnTo>
                <a:lnTo>
                  <a:pt x="8009991" y="2970106"/>
                </a:lnTo>
                <a:lnTo>
                  <a:pt x="0" y="2970106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ìm hiểu cách tạo phòng bí mật cho không gian nhà ở | Thế Giới Nội Thất -  Thư Viện Ý Tưởng Thiết Kế &amp; Trang Trí Nhà Đẹp Online">
            <a:extLst>
              <a:ext uri="{FF2B5EF4-FFF2-40B4-BE49-F238E27FC236}">
                <a16:creationId xmlns:a16="http://schemas.microsoft.com/office/drawing/2014/main" id="{73D6EFD4-39A6-0270-E19A-3FF5326391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22" r="1" b="357"/>
          <a:stretch/>
        </p:blipFill>
        <p:spPr bwMode="auto">
          <a:xfrm>
            <a:off x="1" y="3106464"/>
            <a:ext cx="6209553" cy="3751536"/>
          </a:xfrm>
          <a:custGeom>
            <a:avLst/>
            <a:gdLst/>
            <a:ahLst/>
            <a:cxnLst/>
            <a:rect l="l" t="t" r="r" b="b"/>
            <a:pathLst>
              <a:path w="6209553" h="3751536">
                <a:moveTo>
                  <a:pt x="0" y="0"/>
                </a:moveTo>
                <a:lnTo>
                  <a:pt x="5776701" y="0"/>
                </a:lnTo>
                <a:lnTo>
                  <a:pt x="4041567" y="3746529"/>
                </a:lnTo>
                <a:lnTo>
                  <a:pt x="6209553" y="3746529"/>
                </a:lnTo>
                <a:lnTo>
                  <a:pt x="6209553" y="3746530"/>
                </a:lnTo>
                <a:lnTo>
                  <a:pt x="1647632" y="3746530"/>
                </a:lnTo>
                <a:lnTo>
                  <a:pt x="1647632" y="3751536"/>
                </a:lnTo>
                <a:lnTo>
                  <a:pt x="0" y="3751536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6395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3815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t="12500" b="12500"/>
          <a:stretch/>
        </p:blipFill>
        <p:spPr>
          <a:xfrm>
            <a:off x="6067326" y="-238557"/>
            <a:ext cx="7428132" cy="7096557"/>
          </a:xfrm>
        </p:spPr>
      </p:pic>
      <p:sp>
        <p:nvSpPr>
          <p:cNvPr id="24" name="Rectangle 23"/>
          <p:cNvSpPr/>
          <p:nvPr/>
        </p:nvSpPr>
        <p:spPr>
          <a:xfrm flipH="1">
            <a:off x="51381" y="-600926"/>
            <a:ext cx="7673415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25" name="Rectangle 24"/>
          <p:cNvSpPr/>
          <p:nvPr/>
        </p:nvSpPr>
        <p:spPr>
          <a:xfrm flipH="1">
            <a:off x="136478" y="725131"/>
            <a:ext cx="5158852" cy="57836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Ưu</a:t>
            </a:r>
            <a:r>
              <a:rPr lang="en-US" sz="2800" b="1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2800" b="1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điểm</a:t>
            </a:r>
            <a:r>
              <a:rPr lang="en-US" sz="2800" b="1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2800" b="1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của</a:t>
            </a:r>
            <a:r>
              <a:rPr lang="en-US" sz="2800" b="1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2800" b="1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sách</a:t>
            </a:r>
            <a:r>
              <a:rPr lang="en-US" sz="2800" b="1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2800" b="1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giấy</a:t>
            </a:r>
            <a:endParaRPr kumimoji="0" lang="lt-LT" sz="2800" b="1" u="none" strike="noStrike" kern="0" cap="all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692333" y="1632265"/>
            <a:ext cx="5277570" cy="4413707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ông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ị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hân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âm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i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ọc</a:t>
            </a:r>
            <a:endParaRPr lang="en-US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</a:t>
            </a:r>
            <a:r>
              <a:rPr lang="vi-VN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ả</a:t>
            </a:r>
            <a:r>
              <a:rPr lang="vi-VN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năng ghi </a:t>
            </a:r>
            <a:r>
              <a:rPr lang="vi-VN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hớ</a:t>
            </a:r>
            <a:r>
              <a:rPr lang="vi-VN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à</a:t>
            </a:r>
            <a:r>
              <a:rPr lang="vi-VN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ắm</a:t>
            </a:r>
            <a:r>
              <a:rPr lang="vi-VN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vi-VN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ắt</a:t>
            </a:r>
            <a:r>
              <a:rPr lang="vi-VN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thông tin </a:t>
            </a:r>
            <a:r>
              <a:rPr lang="vi-VN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ốt</a:t>
            </a:r>
            <a:r>
              <a:rPr lang="vi-VN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hơn</a:t>
            </a:r>
            <a:endParaRPr lang="en-US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ảm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giác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: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ùi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ủa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á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ộ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ế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ứu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giá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ủa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ta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iế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ộ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oạ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i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ậ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ra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á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ộ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ế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hính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giác</a:t>
            </a:r>
            <a:endParaRPr lang="en-US" sz="20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à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ò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ảm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giá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ú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hạm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ay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ào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ặ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giấy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ữa</a:t>
            </a:r>
            <a:endParaRPr lang="en-US" sz="20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3" y="326495"/>
            <a:ext cx="6051947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73043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9900" b="1" u="none" strike="noStrike" kern="0" cap="all" spc="0" normalizeH="0" baseline="0" noProof="0" dirty="0">
              <a:ln>
                <a:noFill/>
              </a:ln>
              <a:solidFill>
                <a:schemeClr val="bg1">
                  <a:alpha val="50000"/>
                </a:scheme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481A86D3-0AED-C7D3-62F0-C8FBFABFCD8F}"/>
              </a:ext>
            </a:extLst>
          </p:cNvPr>
          <p:cNvSpPr txBox="1"/>
          <p:nvPr/>
        </p:nvSpPr>
        <p:spPr>
          <a:xfrm>
            <a:off x="5367578" y="5873210"/>
            <a:ext cx="7284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/>
              <a:t>Đặc</a:t>
            </a:r>
            <a:r>
              <a:rPr lang="en-US" sz="1100" dirty="0"/>
              <a:t> </a:t>
            </a:r>
            <a:r>
              <a:rPr lang="en-US" sz="1100" dirty="0" err="1"/>
              <a:t>biệt</a:t>
            </a:r>
            <a:endParaRPr lang="vi-VN" sz="1100" dirty="0"/>
          </a:p>
        </p:txBody>
      </p:sp>
    </p:spTree>
    <p:extLst>
      <p:ext uri="{BB962C8B-B14F-4D97-AF65-F5344CB8AC3E}">
        <p14:creationId xmlns:p14="http://schemas.microsoft.com/office/powerpoint/2010/main" val="183081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88" name="Picture 68" descr="Sách - Sao Tình Đầu Chẳng Mãi Dài Lâu - [Bản Đặc Biệt] Tặng Kèm Chữ Ký Tác  Giả (Số lượng có hạn) | Shopee Việt Nam">
            <a:extLst>
              <a:ext uri="{FF2B5EF4-FFF2-40B4-BE49-F238E27FC236}">
                <a16:creationId xmlns:a16="http://schemas.microsoft.com/office/drawing/2014/main" id="{938A5026-CAD0-2FCC-8F5E-57FD10557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34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84" name="Picture 64" descr="Sách - Mở cửa tương lai (Phiên bản bìa cứng có chữ ký Tác giả) Nguyễn Phi  Vân | Shopee Việt Nam">
            <a:extLst>
              <a:ext uri="{FF2B5EF4-FFF2-40B4-BE49-F238E27FC236}">
                <a16:creationId xmlns:a16="http://schemas.microsoft.com/office/drawing/2014/main" id="{98562DA6-AC5A-6214-861C-82E6E4892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25586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55493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86" name="Picture 66" descr="Độc giả TP.HCM xếp hàng 3 tiếng chờ xin chữ ký nhà văn Nguyễn Nhật Ánh |  HomeVN">
            <a:extLst>
              <a:ext uri="{FF2B5EF4-FFF2-40B4-BE49-F238E27FC236}">
                <a16:creationId xmlns:a16="http://schemas.microsoft.com/office/drawing/2014/main" id="{3FA62609-7597-671C-3182-9359486956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802" y="1085850"/>
            <a:ext cx="7327225" cy="488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90" name="Picture 70" descr="Tặng sách cho ai đó, tại sao không? - Nguyễn Minh Chính">
            <a:extLst>
              <a:ext uri="{FF2B5EF4-FFF2-40B4-BE49-F238E27FC236}">
                <a16:creationId xmlns:a16="http://schemas.microsoft.com/office/drawing/2014/main" id="{EE91B083-FD72-87C9-9D90-4A6C14A84E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0482" y="1509648"/>
            <a:ext cx="73834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15"/>
          <p:cNvSpPr txBox="1">
            <a:spLocks/>
          </p:cNvSpPr>
          <p:nvPr/>
        </p:nvSpPr>
        <p:spPr>
          <a:xfrm>
            <a:off x="3133165" y="278542"/>
            <a:ext cx="8536734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dirty="0" err="1">
                <a:solidFill>
                  <a:schemeClr val="tx1"/>
                </a:solidFill>
              </a:rPr>
              <a:t>Đặc</a:t>
            </a:r>
            <a:r>
              <a:rPr lang="en-US" sz="8000" dirty="0">
                <a:solidFill>
                  <a:schemeClr val="tx1"/>
                </a:solidFill>
              </a:rPr>
              <a:t> </a:t>
            </a:r>
            <a:r>
              <a:rPr lang="en-US" sz="8000" dirty="0" err="1">
                <a:solidFill>
                  <a:schemeClr val="tx1"/>
                </a:solidFill>
              </a:rPr>
              <a:t>biệt</a:t>
            </a:r>
            <a:endParaRPr lang="en-US" sz="8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18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xit" presetSubtype="0" fill="hold" nodeType="click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51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5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5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600" fill="hold"/>
                                        <p:tgtEl>
                                          <p:spTgt spid="5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600" fill="hold"/>
                                        <p:tgtEl>
                                          <p:spTgt spid="5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xit" presetSubtype="0" fill="hold" nodeType="clickEffect">
                                  <p:stCondLst>
                                    <p:cond delay="3600"/>
                                  </p:stCondLst>
                                  <p:childTnLst>
                                    <p:anim calcmode="lin" valueType="num">
                                      <p:cBhvr>
                                        <p:cTn id="22" dur="800"/>
                                        <p:tgtEl>
                                          <p:spTgt spid="51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800"/>
                                        <p:tgtEl>
                                          <p:spTgt spid="51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800"/>
                                        <p:tgtEl>
                                          <p:spTgt spid="51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5" dur="800"/>
                                        <p:tgtEl>
                                          <p:spTgt spid="51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5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3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300" fill="hold"/>
                                        <p:tgtEl>
                                          <p:spTgt spid="51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300" fill="hold"/>
                                        <p:tgtEl>
                                          <p:spTgt spid="51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300"/>
                                        <p:tgtEl>
                                          <p:spTgt spid="5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900"/>
                            </p:stCondLst>
                            <p:childTnLst>
                              <p:par>
                                <p:cTn id="33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2000" fill="hold"/>
                                        <p:tgtEl>
                                          <p:spTgt spid="518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7900"/>
                            </p:stCondLst>
                            <p:childTnLst>
                              <p:par>
                                <p:cTn id="3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2200" fill="hold"/>
                                        <p:tgtEl>
                                          <p:spTgt spid="51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200" fill="hold"/>
                                        <p:tgtEl>
                                          <p:spTgt spid="51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2200"/>
                                        <p:tgtEl>
                                          <p:spTgt spid="5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6" b="7816"/>
          <a:stretch>
            <a:fillRect/>
          </a:stretch>
        </p:blipFill>
        <p:spPr/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422275" y="327703"/>
            <a:ext cx="5842897" cy="6198507"/>
          </a:xfrm>
          <a:prstGeom prst="rect">
            <a:avLst/>
          </a:prstGeom>
          <a:solidFill>
            <a:srgbClr val="FFFFFF">
              <a:alpha val="5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24" name="Content Placeholder 15"/>
          <p:cNvSpPr txBox="1">
            <a:spLocks/>
          </p:cNvSpPr>
          <p:nvPr/>
        </p:nvSpPr>
        <p:spPr>
          <a:xfrm>
            <a:off x="676462" y="460618"/>
            <a:ext cx="5358746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5400" dirty="0" err="1">
                <a:solidFill>
                  <a:schemeClr val="tx1"/>
                </a:solidFill>
              </a:rPr>
              <a:t>Sách</a:t>
            </a:r>
            <a:r>
              <a:rPr lang="en-US" sz="5400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điện</a:t>
            </a:r>
            <a:r>
              <a:rPr lang="en-US" sz="5400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tử</a:t>
            </a:r>
            <a:r>
              <a:rPr lang="en-US" sz="5400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rất</a:t>
            </a:r>
            <a:r>
              <a:rPr lang="en-US" sz="5400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tiện</a:t>
            </a:r>
            <a:r>
              <a:rPr lang="en-US" sz="5400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dụng</a:t>
            </a:r>
            <a:endParaRPr lang="en-US" sz="5400" dirty="0">
              <a:solidFill>
                <a:schemeClr val="tx1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4873988" y="2443485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15"/>
          <p:cNvSpPr txBox="1">
            <a:spLocks/>
          </p:cNvSpPr>
          <p:nvPr/>
        </p:nvSpPr>
        <p:spPr>
          <a:xfrm>
            <a:off x="795029" y="2771297"/>
            <a:ext cx="3906866" cy="4197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vi-VN" sz="2400" dirty="0" err="1">
                <a:solidFill>
                  <a:schemeClr val="accent4"/>
                </a:solidFill>
              </a:rPr>
              <a:t>Với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sách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điện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tử</a:t>
            </a:r>
            <a:r>
              <a:rPr lang="vi-VN" sz="2400" dirty="0">
                <a:solidFill>
                  <a:schemeClr val="accent4"/>
                </a:solidFill>
              </a:rPr>
              <a:t>, </a:t>
            </a:r>
            <a:r>
              <a:rPr lang="vi-VN" sz="2400" dirty="0" err="1">
                <a:solidFill>
                  <a:schemeClr val="accent4"/>
                </a:solidFill>
              </a:rPr>
              <a:t>bạn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có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thể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đọc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mọi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lúc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mọi</a:t>
            </a:r>
            <a:r>
              <a:rPr lang="vi-VN" sz="2400" dirty="0">
                <a:solidFill>
                  <a:schemeClr val="accent4"/>
                </a:solidFill>
              </a:rPr>
              <a:t> nơi.</a:t>
            </a:r>
            <a:endParaRPr lang="en-US" sz="2400" dirty="0">
              <a:solidFill>
                <a:schemeClr val="accent4"/>
              </a:solidFill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5271016" y="3051166"/>
            <a:ext cx="547752" cy="751579"/>
            <a:chOff x="8437563" y="2519362"/>
            <a:chExt cx="1651000" cy="2265363"/>
          </a:xfrm>
        </p:grpSpPr>
        <p:sp>
          <p:nvSpPr>
            <p:cNvPr id="41" name="Freeform 53"/>
            <p:cNvSpPr>
              <a:spLocks noEditPoints="1"/>
            </p:cNvSpPr>
            <p:nvPr/>
          </p:nvSpPr>
          <p:spPr bwMode="auto">
            <a:xfrm>
              <a:off x="8437563" y="3219450"/>
              <a:ext cx="1651000" cy="1565275"/>
            </a:xfrm>
            <a:custGeom>
              <a:avLst/>
              <a:gdLst>
                <a:gd name="T0" fmla="*/ 398 w 437"/>
                <a:gd name="T1" fmla="*/ 74 h 415"/>
                <a:gd name="T2" fmla="*/ 374 w 437"/>
                <a:gd name="T3" fmla="*/ 74 h 415"/>
                <a:gd name="T4" fmla="*/ 285 w 437"/>
                <a:gd name="T5" fmla="*/ 0 h 415"/>
                <a:gd name="T6" fmla="*/ 275 w 437"/>
                <a:gd name="T7" fmla="*/ 10 h 415"/>
                <a:gd name="T8" fmla="*/ 285 w 437"/>
                <a:gd name="T9" fmla="*/ 20 h 415"/>
                <a:gd name="T10" fmla="*/ 355 w 437"/>
                <a:gd name="T11" fmla="*/ 85 h 415"/>
                <a:gd name="T12" fmla="*/ 355 w 437"/>
                <a:gd name="T13" fmla="*/ 91 h 415"/>
                <a:gd name="T14" fmla="*/ 330 w 437"/>
                <a:gd name="T15" fmla="*/ 323 h 415"/>
                <a:gd name="T16" fmla="*/ 330 w 437"/>
                <a:gd name="T17" fmla="*/ 324 h 415"/>
                <a:gd name="T18" fmla="*/ 260 w 437"/>
                <a:gd name="T19" fmla="*/ 395 h 415"/>
                <a:gd name="T20" fmla="*/ 115 w 437"/>
                <a:gd name="T21" fmla="*/ 395 h 415"/>
                <a:gd name="T22" fmla="*/ 45 w 437"/>
                <a:gd name="T23" fmla="*/ 324 h 415"/>
                <a:gd name="T24" fmla="*/ 26 w 437"/>
                <a:gd name="T25" fmla="*/ 154 h 415"/>
                <a:gd name="T26" fmla="*/ 167 w 437"/>
                <a:gd name="T27" fmla="*/ 154 h 415"/>
                <a:gd name="T28" fmla="*/ 177 w 437"/>
                <a:gd name="T29" fmla="*/ 144 h 415"/>
                <a:gd name="T30" fmla="*/ 167 w 437"/>
                <a:gd name="T31" fmla="*/ 134 h 415"/>
                <a:gd name="T32" fmla="*/ 24 w 437"/>
                <a:gd name="T33" fmla="*/ 134 h 415"/>
                <a:gd name="T34" fmla="*/ 20 w 437"/>
                <a:gd name="T35" fmla="*/ 91 h 415"/>
                <a:gd name="T36" fmla="*/ 90 w 437"/>
                <a:gd name="T37" fmla="*/ 20 h 415"/>
                <a:gd name="T38" fmla="*/ 195 w 437"/>
                <a:gd name="T39" fmla="*/ 20 h 415"/>
                <a:gd name="T40" fmla="*/ 205 w 437"/>
                <a:gd name="T41" fmla="*/ 10 h 415"/>
                <a:gd name="T42" fmla="*/ 195 w 437"/>
                <a:gd name="T43" fmla="*/ 0 h 415"/>
                <a:gd name="T44" fmla="*/ 90 w 437"/>
                <a:gd name="T45" fmla="*/ 0 h 415"/>
                <a:gd name="T46" fmla="*/ 0 w 437"/>
                <a:gd name="T47" fmla="*/ 91 h 415"/>
                <a:gd name="T48" fmla="*/ 25 w 437"/>
                <a:gd name="T49" fmla="*/ 325 h 415"/>
                <a:gd name="T50" fmla="*/ 115 w 437"/>
                <a:gd name="T51" fmla="*/ 415 h 415"/>
                <a:gd name="T52" fmla="*/ 260 w 437"/>
                <a:gd name="T53" fmla="*/ 415 h 415"/>
                <a:gd name="T54" fmla="*/ 350 w 437"/>
                <a:gd name="T55" fmla="*/ 325 h 415"/>
                <a:gd name="T56" fmla="*/ 358 w 437"/>
                <a:gd name="T57" fmla="*/ 253 h 415"/>
                <a:gd name="T58" fmla="*/ 398 w 437"/>
                <a:gd name="T59" fmla="*/ 253 h 415"/>
                <a:gd name="T60" fmla="*/ 437 w 437"/>
                <a:gd name="T61" fmla="*/ 214 h 415"/>
                <a:gd name="T62" fmla="*/ 437 w 437"/>
                <a:gd name="T63" fmla="*/ 113 h 415"/>
                <a:gd name="T64" fmla="*/ 398 w 437"/>
                <a:gd name="T65" fmla="*/ 74 h 415"/>
                <a:gd name="T66" fmla="*/ 417 w 437"/>
                <a:gd name="T67" fmla="*/ 214 h 415"/>
                <a:gd name="T68" fmla="*/ 398 w 437"/>
                <a:gd name="T69" fmla="*/ 233 h 415"/>
                <a:gd name="T70" fmla="*/ 360 w 437"/>
                <a:gd name="T71" fmla="*/ 233 h 415"/>
                <a:gd name="T72" fmla="*/ 375 w 437"/>
                <a:gd name="T73" fmla="*/ 99 h 415"/>
                <a:gd name="T74" fmla="*/ 375 w 437"/>
                <a:gd name="T75" fmla="*/ 94 h 415"/>
                <a:gd name="T76" fmla="*/ 398 w 437"/>
                <a:gd name="T77" fmla="*/ 94 h 415"/>
                <a:gd name="T78" fmla="*/ 417 w 437"/>
                <a:gd name="T79" fmla="*/ 113 h 415"/>
                <a:gd name="T80" fmla="*/ 417 w 437"/>
                <a:gd name="T81" fmla="*/ 214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7" h="415">
                  <a:moveTo>
                    <a:pt x="398" y="74"/>
                  </a:moveTo>
                  <a:cubicBezTo>
                    <a:pt x="374" y="74"/>
                    <a:pt x="374" y="74"/>
                    <a:pt x="374" y="74"/>
                  </a:cubicBezTo>
                  <a:cubicBezTo>
                    <a:pt x="365" y="32"/>
                    <a:pt x="328" y="0"/>
                    <a:pt x="285" y="0"/>
                  </a:cubicBezTo>
                  <a:cubicBezTo>
                    <a:pt x="280" y="0"/>
                    <a:pt x="275" y="5"/>
                    <a:pt x="275" y="10"/>
                  </a:cubicBezTo>
                  <a:cubicBezTo>
                    <a:pt x="275" y="16"/>
                    <a:pt x="280" y="20"/>
                    <a:pt x="285" y="20"/>
                  </a:cubicBezTo>
                  <a:cubicBezTo>
                    <a:pt x="321" y="20"/>
                    <a:pt x="352" y="48"/>
                    <a:pt x="355" y="85"/>
                  </a:cubicBezTo>
                  <a:cubicBezTo>
                    <a:pt x="355" y="87"/>
                    <a:pt x="355" y="89"/>
                    <a:pt x="355" y="91"/>
                  </a:cubicBezTo>
                  <a:cubicBezTo>
                    <a:pt x="330" y="323"/>
                    <a:pt x="330" y="323"/>
                    <a:pt x="330" y="323"/>
                  </a:cubicBezTo>
                  <a:cubicBezTo>
                    <a:pt x="330" y="324"/>
                    <a:pt x="330" y="324"/>
                    <a:pt x="330" y="324"/>
                  </a:cubicBezTo>
                  <a:cubicBezTo>
                    <a:pt x="330" y="363"/>
                    <a:pt x="299" y="395"/>
                    <a:pt x="260" y="395"/>
                  </a:cubicBezTo>
                  <a:cubicBezTo>
                    <a:pt x="115" y="395"/>
                    <a:pt x="115" y="395"/>
                    <a:pt x="115" y="395"/>
                  </a:cubicBezTo>
                  <a:cubicBezTo>
                    <a:pt x="76" y="395"/>
                    <a:pt x="45" y="363"/>
                    <a:pt x="45" y="324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73" y="154"/>
                    <a:pt x="177" y="150"/>
                    <a:pt x="177" y="144"/>
                  </a:cubicBezTo>
                  <a:cubicBezTo>
                    <a:pt x="177" y="138"/>
                    <a:pt x="173" y="134"/>
                    <a:pt x="167" y="134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0" y="52"/>
                    <a:pt x="51" y="20"/>
                    <a:pt x="90" y="2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201" y="20"/>
                    <a:pt x="205" y="16"/>
                    <a:pt x="205" y="10"/>
                  </a:cubicBezTo>
                  <a:cubicBezTo>
                    <a:pt x="205" y="5"/>
                    <a:pt x="201" y="0"/>
                    <a:pt x="19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0" y="0"/>
                    <a:pt x="0" y="41"/>
                    <a:pt x="0" y="91"/>
                  </a:cubicBezTo>
                  <a:cubicBezTo>
                    <a:pt x="25" y="325"/>
                    <a:pt x="25" y="325"/>
                    <a:pt x="25" y="325"/>
                  </a:cubicBezTo>
                  <a:cubicBezTo>
                    <a:pt x="25" y="375"/>
                    <a:pt x="66" y="415"/>
                    <a:pt x="115" y="415"/>
                  </a:cubicBezTo>
                  <a:cubicBezTo>
                    <a:pt x="260" y="415"/>
                    <a:pt x="260" y="415"/>
                    <a:pt x="260" y="415"/>
                  </a:cubicBezTo>
                  <a:cubicBezTo>
                    <a:pt x="310" y="415"/>
                    <a:pt x="350" y="375"/>
                    <a:pt x="350" y="325"/>
                  </a:cubicBezTo>
                  <a:cubicBezTo>
                    <a:pt x="358" y="253"/>
                    <a:pt x="358" y="253"/>
                    <a:pt x="358" y="253"/>
                  </a:cubicBezTo>
                  <a:cubicBezTo>
                    <a:pt x="398" y="253"/>
                    <a:pt x="398" y="253"/>
                    <a:pt x="398" y="253"/>
                  </a:cubicBezTo>
                  <a:cubicBezTo>
                    <a:pt x="420" y="253"/>
                    <a:pt x="437" y="235"/>
                    <a:pt x="437" y="214"/>
                  </a:cubicBezTo>
                  <a:cubicBezTo>
                    <a:pt x="437" y="113"/>
                    <a:pt x="437" y="113"/>
                    <a:pt x="437" y="113"/>
                  </a:cubicBezTo>
                  <a:cubicBezTo>
                    <a:pt x="437" y="91"/>
                    <a:pt x="420" y="74"/>
                    <a:pt x="398" y="74"/>
                  </a:cubicBezTo>
                  <a:close/>
                  <a:moveTo>
                    <a:pt x="417" y="214"/>
                  </a:moveTo>
                  <a:cubicBezTo>
                    <a:pt x="417" y="224"/>
                    <a:pt x="409" y="233"/>
                    <a:pt x="398" y="233"/>
                  </a:cubicBezTo>
                  <a:cubicBezTo>
                    <a:pt x="360" y="233"/>
                    <a:pt x="360" y="233"/>
                    <a:pt x="360" y="233"/>
                  </a:cubicBezTo>
                  <a:cubicBezTo>
                    <a:pt x="375" y="99"/>
                    <a:pt x="375" y="99"/>
                    <a:pt x="375" y="99"/>
                  </a:cubicBezTo>
                  <a:cubicBezTo>
                    <a:pt x="375" y="94"/>
                    <a:pt x="375" y="94"/>
                    <a:pt x="375" y="94"/>
                  </a:cubicBezTo>
                  <a:cubicBezTo>
                    <a:pt x="398" y="94"/>
                    <a:pt x="398" y="94"/>
                    <a:pt x="398" y="94"/>
                  </a:cubicBezTo>
                  <a:cubicBezTo>
                    <a:pt x="409" y="94"/>
                    <a:pt x="417" y="102"/>
                    <a:pt x="417" y="113"/>
                  </a:cubicBezTo>
                  <a:lnTo>
                    <a:pt x="417" y="2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4"/>
            <p:cNvSpPr>
              <a:spLocks/>
            </p:cNvSpPr>
            <p:nvPr/>
          </p:nvSpPr>
          <p:spPr bwMode="auto">
            <a:xfrm>
              <a:off x="9045576" y="2519362"/>
              <a:ext cx="207963" cy="652463"/>
            </a:xfrm>
            <a:custGeom>
              <a:avLst/>
              <a:gdLst>
                <a:gd name="T0" fmla="*/ 11 w 55"/>
                <a:gd name="T1" fmla="*/ 173 h 173"/>
                <a:gd name="T2" fmla="*/ 17 w 55"/>
                <a:gd name="T3" fmla="*/ 171 h 173"/>
                <a:gd name="T4" fmla="*/ 47 w 55"/>
                <a:gd name="T5" fmla="*/ 98 h 173"/>
                <a:gd name="T6" fmla="*/ 38 w 55"/>
                <a:gd name="T7" fmla="*/ 76 h 173"/>
                <a:gd name="T8" fmla="*/ 31 w 55"/>
                <a:gd name="T9" fmla="*/ 62 h 173"/>
                <a:gd name="T10" fmla="*/ 33 w 55"/>
                <a:gd name="T11" fmla="*/ 16 h 173"/>
                <a:gd name="T12" fmla="*/ 28 w 55"/>
                <a:gd name="T13" fmla="*/ 3 h 173"/>
                <a:gd name="T14" fmla="*/ 15 w 55"/>
                <a:gd name="T15" fmla="*/ 8 h 173"/>
                <a:gd name="T16" fmla="*/ 13 w 55"/>
                <a:gd name="T17" fmla="*/ 70 h 173"/>
                <a:gd name="T18" fmla="*/ 20 w 55"/>
                <a:gd name="T19" fmla="*/ 86 h 173"/>
                <a:gd name="T20" fmla="*/ 28 w 55"/>
                <a:gd name="T21" fmla="*/ 104 h 173"/>
                <a:gd name="T22" fmla="*/ 6 w 55"/>
                <a:gd name="T23" fmla="*/ 154 h 173"/>
                <a:gd name="T24" fmla="*/ 3 w 55"/>
                <a:gd name="T25" fmla="*/ 168 h 173"/>
                <a:gd name="T26" fmla="*/ 11 w 55"/>
                <a:gd name="T2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173">
                  <a:moveTo>
                    <a:pt x="11" y="173"/>
                  </a:moveTo>
                  <a:cubicBezTo>
                    <a:pt x="13" y="173"/>
                    <a:pt x="15" y="172"/>
                    <a:pt x="17" y="171"/>
                  </a:cubicBezTo>
                  <a:cubicBezTo>
                    <a:pt x="42" y="156"/>
                    <a:pt x="55" y="125"/>
                    <a:pt x="47" y="98"/>
                  </a:cubicBezTo>
                  <a:cubicBezTo>
                    <a:pt x="45" y="90"/>
                    <a:pt x="41" y="83"/>
                    <a:pt x="38" y="76"/>
                  </a:cubicBezTo>
                  <a:cubicBezTo>
                    <a:pt x="35" y="72"/>
                    <a:pt x="33" y="67"/>
                    <a:pt x="31" y="62"/>
                  </a:cubicBezTo>
                  <a:cubicBezTo>
                    <a:pt x="26" y="47"/>
                    <a:pt x="26" y="30"/>
                    <a:pt x="33" y="16"/>
                  </a:cubicBezTo>
                  <a:cubicBezTo>
                    <a:pt x="35" y="11"/>
                    <a:pt x="33" y="5"/>
                    <a:pt x="28" y="3"/>
                  </a:cubicBezTo>
                  <a:cubicBezTo>
                    <a:pt x="23" y="0"/>
                    <a:pt x="17" y="3"/>
                    <a:pt x="15" y="8"/>
                  </a:cubicBezTo>
                  <a:cubicBezTo>
                    <a:pt x="6" y="27"/>
                    <a:pt x="5" y="50"/>
                    <a:pt x="13" y="70"/>
                  </a:cubicBezTo>
                  <a:cubicBezTo>
                    <a:pt x="15" y="75"/>
                    <a:pt x="18" y="80"/>
                    <a:pt x="20" y="86"/>
                  </a:cubicBezTo>
                  <a:cubicBezTo>
                    <a:pt x="23" y="92"/>
                    <a:pt x="26" y="98"/>
                    <a:pt x="28" y="104"/>
                  </a:cubicBezTo>
                  <a:cubicBezTo>
                    <a:pt x="33" y="122"/>
                    <a:pt x="24" y="144"/>
                    <a:pt x="6" y="154"/>
                  </a:cubicBezTo>
                  <a:cubicBezTo>
                    <a:pt x="2" y="157"/>
                    <a:pt x="0" y="163"/>
                    <a:pt x="3" y="168"/>
                  </a:cubicBezTo>
                  <a:cubicBezTo>
                    <a:pt x="5" y="171"/>
                    <a:pt x="8" y="173"/>
                    <a:pt x="11" y="17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55"/>
            <p:cNvSpPr>
              <a:spLocks/>
            </p:cNvSpPr>
            <p:nvPr/>
          </p:nvSpPr>
          <p:spPr bwMode="auto">
            <a:xfrm>
              <a:off x="8902701" y="2695575"/>
              <a:ext cx="158750" cy="490538"/>
            </a:xfrm>
            <a:custGeom>
              <a:avLst/>
              <a:gdLst>
                <a:gd name="T0" fmla="*/ 11 w 42"/>
                <a:gd name="T1" fmla="*/ 130 h 130"/>
                <a:gd name="T2" fmla="*/ 17 w 42"/>
                <a:gd name="T3" fmla="*/ 128 h 130"/>
                <a:gd name="T4" fmla="*/ 38 w 42"/>
                <a:gd name="T5" fmla="*/ 73 h 130"/>
                <a:gd name="T6" fmla="*/ 31 w 42"/>
                <a:gd name="T7" fmla="*/ 57 h 130"/>
                <a:gd name="T8" fmla="*/ 27 w 42"/>
                <a:gd name="T9" fmla="*/ 47 h 130"/>
                <a:gd name="T10" fmla="*/ 28 w 42"/>
                <a:gd name="T11" fmla="*/ 15 h 130"/>
                <a:gd name="T12" fmla="*/ 23 w 42"/>
                <a:gd name="T13" fmla="*/ 2 h 130"/>
                <a:gd name="T14" fmla="*/ 10 w 42"/>
                <a:gd name="T15" fmla="*/ 8 h 130"/>
                <a:gd name="T16" fmla="*/ 8 w 42"/>
                <a:gd name="T17" fmla="*/ 53 h 130"/>
                <a:gd name="T18" fmla="*/ 13 w 42"/>
                <a:gd name="T19" fmla="*/ 65 h 130"/>
                <a:gd name="T20" fmla="*/ 18 w 42"/>
                <a:gd name="T21" fmla="*/ 78 h 130"/>
                <a:gd name="T22" fmla="*/ 6 w 42"/>
                <a:gd name="T23" fmla="*/ 112 h 130"/>
                <a:gd name="T24" fmla="*/ 3 w 42"/>
                <a:gd name="T25" fmla="*/ 125 h 130"/>
                <a:gd name="T26" fmla="*/ 11 w 42"/>
                <a:gd name="T2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130">
                  <a:moveTo>
                    <a:pt x="11" y="130"/>
                  </a:moveTo>
                  <a:cubicBezTo>
                    <a:pt x="13" y="130"/>
                    <a:pt x="15" y="129"/>
                    <a:pt x="17" y="128"/>
                  </a:cubicBezTo>
                  <a:cubicBezTo>
                    <a:pt x="34" y="116"/>
                    <a:pt x="42" y="93"/>
                    <a:pt x="38" y="73"/>
                  </a:cubicBezTo>
                  <a:cubicBezTo>
                    <a:pt x="36" y="67"/>
                    <a:pt x="34" y="62"/>
                    <a:pt x="31" y="57"/>
                  </a:cubicBezTo>
                  <a:cubicBezTo>
                    <a:pt x="30" y="54"/>
                    <a:pt x="28" y="50"/>
                    <a:pt x="27" y="47"/>
                  </a:cubicBezTo>
                  <a:cubicBezTo>
                    <a:pt x="24" y="37"/>
                    <a:pt x="24" y="25"/>
                    <a:pt x="28" y="15"/>
                  </a:cubicBezTo>
                  <a:cubicBezTo>
                    <a:pt x="30" y="10"/>
                    <a:pt x="28" y="4"/>
                    <a:pt x="23" y="2"/>
                  </a:cubicBezTo>
                  <a:cubicBezTo>
                    <a:pt x="18" y="0"/>
                    <a:pt x="12" y="2"/>
                    <a:pt x="10" y="8"/>
                  </a:cubicBezTo>
                  <a:cubicBezTo>
                    <a:pt x="4" y="22"/>
                    <a:pt x="4" y="39"/>
                    <a:pt x="8" y="53"/>
                  </a:cubicBezTo>
                  <a:cubicBezTo>
                    <a:pt x="10" y="58"/>
                    <a:pt x="12" y="61"/>
                    <a:pt x="13" y="65"/>
                  </a:cubicBezTo>
                  <a:cubicBezTo>
                    <a:pt x="15" y="70"/>
                    <a:pt x="17" y="74"/>
                    <a:pt x="18" y="78"/>
                  </a:cubicBezTo>
                  <a:cubicBezTo>
                    <a:pt x="21" y="90"/>
                    <a:pt x="16" y="105"/>
                    <a:pt x="6" y="112"/>
                  </a:cubicBezTo>
                  <a:cubicBezTo>
                    <a:pt x="1" y="115"/>
                    <a:pt x="0" y="121"/>
                    <a:pt x="3" y="125"/>
                  </a:cubicBezTo>
                  <a:cubicBezTo>
                    <a:pt x="5" y="128"/>
                    <a:pt x="8" y="130"/>
                    <a:pt x="11" y="13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56"/>
            <p:cNvSpPr>
              <a:spLocks/>
            </p:cNvSpPr>
            <p:nvPr/>
          </p:nvSpPr>
          <p:spPr bwMode="auto">
            <a:xfrm>
              <a:off x="9275763" y="2843213"/>
              <a:ext cx="158750" cy="339725"/>
            </a:xfrm>
            <a:custGeom>
              <a:avLst/>
              <a:gdLst>
                <a:gd name="T0" fmla="*/ 11 w 42"/>
                <a:gd name="T1" fmla="*/ 90 h 90"/>
                <a:gd name="T2" fmla="*/ 17 w 42"/>
                <a:gd name="T3" fmla="*/ 89 h 90"/>
                <a:gd name="T4" fmla="*/ 37 w 42"/>
                <a:gd name="T5" fmla="*/ 34 h 90"/>
                <a:gd name="T6" fmla="*/ 31 w 42"/>
                <a:gd name="T7" fmla="*/ 18 h 90"/>
                <a:gd name="T8" fmla="*/ 27 w 42"/>
                <a:gd name="T9" fmla="*/ 8 h 90"/>
                <a:gd name="T10" fmla="*/ 15 w 42"/>
                <a:gd name="T11" fmla="*/ 1 h 90"/>
                <a:gd name="T12" fmla="*/ 8 w 42"/>
                <a:gd name="T13" fmla="*/ 14 h 90"/>
                <a:gd name="T14" fmla="*/ 13 w 42"/>
                <a:gd name="T15" fmla="*/ 26 h 90"/>
                <a:gd name="T16" fmla="*/ 18 w 42"/>
                <a:gd name="T17" fmla="*/ 39 h 90"/>
                <a:gd name="T18" fmla="*/ 6 w 42"/>
                <a:gd name="T19" fmla="*/ 72 h 90"/>
                <a:gd name="T20" fmla="*/ 3 w 42"/>
                <a:gd name="T21" fmla="*/ 86 h 90"/>
                <a:gd name="T22" fmla="*/ 11 w 42"/>
                <a:gd name="T2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90">
                  <a:moveTo>
                    <a:pt x="11" y="90"/>
                  </a:moveTo>
                  <a:cubicBezTo>
                    <a:pt x="13" y="90"/>
                    <a:pt x="15" y="90"/>
                    <a:pt x="17" y="89"/>
                  </a:cubicBezTo>
                  <a:cubicBezTo>
                    <a:pt x="34" y="77"/>
                    <a:pt x="42" y="54"/>
                    <a:pt x="37" y="34"/>
                  </a:cubicBezTo>
                  <a:cubicBezTo>
                    <a:pt x="36" y="28"/>
                    <a:pt x="34" y="23"/>
                    <a:pt x="31" y="18"/>
                  </a:cubicBezTo>
                  <a:cubicBezTo>
                    <a:pt x="30" y="14"/>
                    <a:pt x="28" y="11"/>
                    <a:pt x="27" y="8"/>
                  </a:cubicBezTo>
                  <a:cubicBezTo>
                    <a:pt x="26" y="3"/>
                    <a:pt x="20" y="0"/>
                    <a:pt x="15" y="1"/>
                  </a:cubicBezTo>
                  <a:cubicBezTo>
                    <a:pt x="9" y="3"/>
                    <a:pt x="7" y="9"/>
                    <a:pt x="8" y="14"/>
                  </a:cubicBezTo>
                  <a:cubicBezTo>
                    <a:pt x="10" y="18"/>
                    <a:pt x="11" y="22"/>
                    <a:pt x="13" y="26"/>
                  </a:cubicBezTo>
                  <a:cubicBezTo>
                    <a:pt x="15" y="30"/>
                    <a:pt x="17" y="34"/>
                    <a:pt x="18" y="39"/>
                  </a:cubicBezTo>
                  <a:cubicBezTo>
                    <a:pt x="21" y="51"/>
                    <a:pt x="16" y="65"/>
                    <a:pt x="6" y="72"/>
                  </a:cubicBezTo>
                  <a:cubicBezTo>
                    <a:pt x="1" y="75"/>
                    <a:pt x="0" y="82"/>
                    <a:pt x="3" y="86"/>
                  </a:cubicBezTo>
                  <a:cubicBezTo>
                    <a:pt x="5" y="89"/>
                    <a:pt x="8" y="90"/>
                    <a:pt x="11" y="9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7"/>
            <p:cNvSpPr>
              <a:spLocks/>
            </p:cNvSpPr>
            <p:nvPr/>
          </p:nvSpPr>
          <p:spPr bwMode="auto">
            <a:xfrm>
              <a:off x="9196388" y="3724275"/>
              <a:ext cx="309563" cy="76200"/>
            </a:xfrm>
            <a:custGeom>
              <a:avLst/>
              <a:gdLst>
                <a:gd name="T0" fmla="*/ 0 w 82"/>
                <a:gd name="T1" fmla="*/ 10 h 20"/>
                <a:gd name="T2" fmla="*/ 10 w 82"/>
                <a:gd name="T3" fmla="*/ 20 h 20"/>
                <a:gd name="T4" fmla="*/ 72 w 82"/>
                <a:gd name="T5" fmla="*/ 20 h 20"/>
                <a:gd name="T6" fmla="*/ 82 w 82"/>
                <a:gd name="T7" fmla="*/ 10 h 20"/>
                <a:gd name="T8" fmla="*/ 72 w 82"/>
                <a:gd name="T9" fmla="*/ 0 h 20"/>
                <a:gd name="T10" fmla="*/ 10 w 82"/>
                <a:gd name="T11" fmla="*/ 0 h 20"/>
                <a:gd name="T12" fmla="*/ 0 w 82"/>
                <a:gd name="T1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0">
                  <a:moveTo>
                    <a:pt x="0" y="10"/>
                  </a:moveTo>
                  <a:cubicBezTo>
                    <a:pt x="0" y="16"/>
                    <a:pt x="4" y="20"/>
                    <a:pt x="10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8" y="20"/>
                    <a:pt x="82" y="16"/>
                    <a:pt x="82" y="10"/>
                  </a:cubicBezTo>
                  <a:cubicBezTo>
                    <a:pt x="82" y="4"/>
                    <a:pt x="78" y="0"/>
                    <a:pt x="7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91E3780F-5152-D804-3025-2F09009C421D}"/>
              </a:ext>
            </a:extLst>
          </p:cNvPr>
          <p:cNvSpPr txBox="1">
            <a:spLocks/>
          </p:cNvSpPr>
          <p:nvPr/>
        </p:nvSpPr>
        <p:spPr>
          <a:xfrm>
            <a:off x="795029" y="4151215"/>
            <a:ext cx="3906866" cy="4197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sz="2400" dirty="0" err="1">
                <a:solidFill>
                  <a:schemeClr val="accent4"/>
                </a:solidFill>
              </a:rPr>
              <a:t>Chỉ</a:t>
            </a:r>
            <a:r>
              <a:rPr lang="en-US" sz="2400" dirty="0">
                <a:solidFill>
                  <a:schemeClr val="accent4"/>
                </a:solidFill>
              </a:rPr>
              <a:t> </a:t>
            </a:r>
            <a:r>
              <a:rPr lang="en-US" sz="2400" dirty="0" err="1">
                <a:solidFill>
                  <a:schemeClr val="accent4"/>
                </a:solidFill>
              </a:rPr>
              <a:t>cần</a:t>
            </a:r>
            <a:r>
              <a:rPr lang="en-US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một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máy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đọc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sách</a:t>
            </a:r>
            <a:r>
              <a:rPr lang="vi-VN" sz="2400" dirty="0">
                <a:solidFill>
                  <a:schemeClr val="accent4"/>
                </a:solidFill>
              </a:rPr>
              <a:t>, </a:t>
            </a:r>
            <a:r>
              <a:rPr lang="vi-VN" sz="2400" dirty="0" err="1">
                <a:solidFill>
                  <a:schemeClr val="accent4"/>
                </a:solidFill>
              </a:rPr>
              <a:t>điện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thoại</a:t>
            </a:r>
            <a:r>
              <a:rPr lang="vi-VN" sz="2400" dirty="0">
                <a:solidFill>
                  <a:schemeClr val="accent4"/>
                </a:solidFill>
              </a:rPr>
              <a:t>, </a:t>
            </a:r>
            <a:r>
              <a:rPr lang="vi-VN" sz="2400" dirty="0" err="1">
                <a:solidFill>
                  <a:schemeClr val="accent4"/>
                </a:solidFill>
              </a:rPr>
              <a:t>máy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tính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bảng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là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bạn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đã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có</a:t>
            </a:r>
            <a:r>
              <a:rPr lang="vi-VN" sz="2400" dirty="0">
                <a:solidFill>
                  <a:schemeClr val="accent4"/>
                </a:solidFill>
              </a:rPr>
              <a:t> </a:t>
            </a:r>
            <a:r>
              <a:rPr lang="vi-VN" sz="2400" dirty="0" err="1">
                <a:solidFill>
                  <a:schemeClr val="accent4"/>
                </a:solidFill>
              </a:rPr>
              <a:t>một</a:t>
            </a:r>
            <a:r>
              <a:rPr lang="vi-VN" sz="2400" dirty="0">
                <a:solidFill>
                  <a:schemeClr val="accent4"/>
                </a:solidFill>
              </a:rPr>
              <a:t> kho </a:t>
            </a:r>
            <a:r>
              <a:rPr lang="vi-VN" sz="2400" dirty="0" err="1">
                <a:solidFill>
                  <a:schemeClr val="accent4"/>
                </a:solidFill>
              </a:rPr>
              <a:t>sách</a:t>
            </a:r>
            <a:r>
              <a:rPr lang="vi-VN" sz="2400" dirty="0">
                <a:solidFill>
                  <a:schemeClr val="accent4"/>
                </a:solidFill>
              </a:rPr>
              <a:t> trong tay </a:t>
            </a:r>
            <a:r>
              <a:rPr lang="vi-VN" sz="2400" dirty="0" err="1">
                <a:solidFill>
                  <a:schemeClr val="accent4"/>
                </a:solidFill>
              </a:rPr>
              <a:t>rồi</a:t>
            </a:r>
            <a:r>
              <a:rPr lang="vi-VN" sz="2400" dirty="0">
                <a:solidFill>
                  <a:schemeClr val="accent4"/>
                </a:solidFill>
              </a:rPr>
              <a:t>.</a:t>
            </a:r>
            <a:endParaRPr lang="en-US" sz="24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93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34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4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0" name="Rectangle 9"/>
          <p:cNvSpPr/>
          <p:nvPr/>
        </p:nvSpPr>
        <p:spPr>
          <a:xfrm>
            <a:off x="-15808" y="38587"/>
            <a:ext cx="12192000" cy="6866550"/>
          </a:xfrm>
          <a:prstGeom prst="rect">
            <a:avLst/>
          </a:prstGeom>
          <a:solidFill>
            <a:srgbClr val="262626">
              <a:alpha val="6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300038" y="260350"/>
            <a:ext cx="316565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EBook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300038" y="858776"/>
            <a:ext cx="3165651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>
                <a:solidFill>
                  <a:schemeClr val="bg1">
                    <a:lumMod val="95000"/>
                  </a:schemeClr>
                </a:solidFill>
              </a:rPr>
              <a:t>Big Data</a:t>
            </a:r>
          </a:p>
        </p:txBody>
      </p:sp>
      <p:sp>
        <p:nvSpPr>
          <p:cNvPr id="22" name="Rectangle 21"/>
          <p:cNvSpPr/>
          <p:nvPr/>
        </p:nvSpPr>
        <p:spPr>
          <a:xfrm flipH="1">
            <a:off x="4560117" y="1884315"/>
            <a:ext cx="3200932" cy="4284009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flipH="1">
            <a:off x="1084881" y="1884313"/>
            <a:ext cx="3514958" cy="4284011"/>
          </a:xfrm>
          <a:prstGeom prst="rect">
            <a:avLst/>
          </a:prstGeom>
          <a:solidFill>
            <a:schemeClr val="bg1">
              <a:alpha val="19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lt-LT" sz="1400" kern="0" dirty="0">
              <a:solidFill>
                <a:prstClr val="white"/>
              </a:solidFill>
              <a:latin typeface="Century Gothic" panose="020B0502020202020204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 flipH="1">
            <a:off x="1862078" y="2491677"/>
            <a:ext cx="1960564" cy="0"/>
          </a:xfrm>
          <a:prstGeom prst="line">
            <a:avLst/>
          </a:prstGeom>
          <a:ln w="1270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 flipH="1">
            <a:off x="1225061" y="1931106"/>
            <a:ext cx="3069781" cy="10497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Sách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điện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tử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có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kho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sách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khổng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lồ</a:t>
            </a:r>
            <a:endParaRPr kumimoji="0" lang="en-US" sz="2400" b="1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40" name="Title 1"/>
          <p:cNvSpPr txBox="1">
            <a:spLocks/>
          </p:cNvSpPr>
          <p:nvPr/>
        </p:nvSpPr>
        <p:spPr>
          <a:xfrm>
            <a:off x="1441615" y="3177667"/>
            <a:ext cx="2853227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-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hư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iệ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book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ó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à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răm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ghì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ầu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</a:t>
            </a:r>
            <a:endParaRPr lang="en-US" sz="12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  <a:p>
            <a:endParaRPr lang="en-US" sz="1100" i="0" u="sng" dirty="0">
              <a:solidFill>
                <a:schemeClr val="bg1"/>
              </a:solidFill>
              <a:effectLst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Waka 6.000 </a:t>
            </a:r>
            <a:r>
              <a:rPr lang="en-US" sz="1600" dirty="0" err="1">
                <a:solidFill>
                  <a:schemeClr val="bg1"/>
                </a:solidFill>
              </a:rPr>
              <a:t>cuốn</a:t>
            </a:r>
            <a:r>
              <a:rPr lang="en-US" sz="1600" dirty="0">
                <a:solidFill>
                  <a:schemeClr val="bg1"/>
                </a:solidFill>
              </a:rPr>
              <a:t>,</a:t>
            </a:r>
            <a:endParaRPr lang="en-US" sz="1600" dirty="0">
              <a:solidFill>
                <a:schemeClr val="bg1"/>
              </a:solidFill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vi-VN" sz="1600" dirty="0" err="1">
                <a:solidFill>
                  <a:schemeClr val="bg1"/>
                </a:solidFill>
              </a:rPr>
              <a:t>Vina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Reader</a:t>
            </a:r>
            <a:r>
              <a:rPr lang="vi-VN" sz="1600" dirty="0">
                <a:solidFill>
                  <a:schemeClr val="bg1"/>
                </a:solidFill>
              </a:rPr>
              <a:t>: </a:t>
            </a:r>
            <a:r>
              <a:rPr lang="vi-VN" sz="1600" dirty="0" err="1">
                <a:solidFill>
                  <a:schemeClr val="bg1"/>
                </a:solidFill>
              </a:rPr>
              <a:t>Tủ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sách</a:t>
            </a:r>
            <a:r>
              <a:rPr lang="vi-VN" sz="1600" dirty="0">
                <a:solidFill>
                  <a:schemeClr val="bg1"/>
                </a:solidFill>
              </a:rPr>
              <a:t> 10.000 </a:t>
            </a:r>
            <a:r>
              <a:rPr lang="vi-VN" sz="1600" dirty="0" err="1">
                <a:solidFill>
                  <a:schemeClr val="bg1"/>
                </a:solidFill>
              </a:rPr>
              <a:t>cuốn</a:t>
            </a:r>
            <a:endParaRPr lang="vi-VN" sz="1600" dirty="0">
              <a:solidFill>
                <a:schemeClr val="bg1"/>
              </a:solidFill>
            </a:endParaRPr>
          </a:p>
          <a:p>
            <a:r>
              <a:rPr lang="vi-VN" sz="1600" dirty="0" err="1">
                <a:solidFill>
                  <a:schemeClr val="bg1"/>
                </a:solidFill>
              </a:rPr>
              <a:t>Miki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App</a:t>
            </a:r>
            <a:r>
              <a:rPr lang="vi-VN" sz="1600" dirty="0">
                <a:solidFill>
                  <a:schemeClr val="bg1"/>
                </a:solidFill>
              </a:rPr>
              <a:t>: </a:t>
            </a:r>
            <a:r>
              <a:rPr lang="vi-VN" sz="1600" dirty="0" err="1">
                <a:solidFill>
                  <a:schemeClr val="bg1"/>
                </a:solidFill>
              </a:rPr>
              <a:t>Ứng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dụng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đọc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sách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của</a:t>
            </a:r>
            <a:r>
              <a:rPr lang="vi-VN" sz="1600" dirty="0">
                <a:solidFill>
                  <a:schemeClr val="bg1"/>
                </a:solidFill>
              </a:rPr>
              <a:t> </a:t>
            </a:r>
            <a:r>
              <a:rPr lang="vi-VN" sz="1600" dirty="0" err="1">
                <a:solidFill>
                  <a:schemeClr val="bg1"/>
                </a:solidFill>
              </a:rPr>
              <a:t>Tiki</a:t>
            </a:r>
            <a:endParaRPr lang="vi-VN" sz="1600" dirty="0">
              <a:solidFill>
                <a:schemeClr val="bg1"/>
              </a:solidFill>
            </a:endParaRPr>
          </a:p>
          <a:p>
            <a:r>
              <a:rPr lang="vi-VN" sz="16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zaa</a:t>
            </a:r>
          </a:p>
          <a:p>
            <a:br>
              <a:rPr lang="vi-VN" sz="9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</a:br>
            <a:endParaRPr lang="en-US" sz="105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H="1">
            <a:off x="5180301" y="2422710"/>
            <a:ext cx="1960564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 flipH="1">
            <a:off x="4556669" y="1837176"/>
            <a:ext cx="3079534" cy="10497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Học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ngoại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ngữ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khi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đọc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sách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điện</a:t>
            </a:r>
            <a:r>
              <a:rPr kumimoji="0" lang="en-US" sz="2400" b="1" u="none" strike="noStrike" kern="0" cap="all" spc="0" normalizeH="0" baseline="0" noProof="0" dirty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kumimoji="0" lang="en-US" sz="2400" b="1" u="none" strike="noStrike" kern="0" cap="all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tử</a:t>
            </a:r>
            <a:endParaRPr kumimoji="0" lang="lt-LT" sz="2400" b="1" u="none" strike="noStrike" kern="0" cap="all" spc="0" normalizeH="0" baseline="0" noProof="0" dirty="0">
              <a:ln>
                <a:noFill/>
              </a:ln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5002079" y="2971800"/>
            <a:ext cx="2512812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Đọc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ngôn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ngữ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khác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giúp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rèn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từ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vựng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và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cách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sử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ụng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Ứng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ụng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đọc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có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kèm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chức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năng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ịch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ngôn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ngữ</a:t>
            </a:r>
            <a:endParaRPr lang="en-US" sz="2000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45" name="Rectangle 44"/>
          <p:cNvSpPr/>
          <p:nvPr/>
        </p:nvSpPr>
        <p:spPr>
          <a:xfrm flipH="1">
            <a:off x="7788902" y="1884314"/>
            <a:ext cx="3368894" cy="4284010"/>
          </a:xfrm>
          <a:prstGeom prst="rect">
            <a:avLst/>
          </a:prstGeom>
          <a:solidFill>
            <a:schemeClr val="bg1">
              <a:alpha val="19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lt-LT" sz="1400" kern="0">
              <a:solidFill>
                <a:prstClr val="white"/>
              </a:solidFill>
              <a:latin typeface="Century Gothic" panose="020B0502020202020204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 flipH="1">
            <a:off x="8493067" y="2491677"/>
            <a:ext cx="1960564" cy="0"/>
          </a:xfrm>
          <a:prstGeom prst="line">
            <a:avLst/>
          </a:prstGeom>
          <a:ln w="1270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 flipH="1">
            <a:off x="8228951" y="1907210"/>
            <a:ext cx="2384583" cy="4957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400" b="1" u="none" strike="noStrike" kern="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Sự</a:t>
            </a:r>
            <a:r>
              <a:rPr kumimoji="0" lang="vi-VN" sz="2400" b="1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 riêng tư</a:t>
            </a:r>
            <a:endParaRPr kumimoji="0" lang="lt-LT" sz="2400" b="1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8050729" y="2702710"/>
            <a:ext cx="2946896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i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a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ộ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quyể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hường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gười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á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ẽ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ể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ý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ế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ự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xuấ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iệ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ủa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ội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ng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ách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ọ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ó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hể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àm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người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hác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đánh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gia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ề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bạn</a:t>
            </a:r>
            <a:endParaRPr lang="en-US" sz="20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61" name="Freeform 60"/>
          <p:cNvSpPr/>
          <p:nvPr/>
        </p:nvSpPr>
        <p:spPr>
          <a:xfrm>
            <a:off x="402240" y="457200"/>
            <a:ext cx="11256360" cy="6029325"/>
          </a:xfrm>
          <a:custGeom>
            <a:avLst/>
            <a:gdLst>
              <a:gd name="connsiteX0" fmla="*/ 1784517 w 11256360"/>
              <a:gd name="connsiteY0" fmla="*/ 0 h 6029325"/>
              <a:gd name="connsiteX1" fmla="*/ 11256360 w 11256360"/>
              <a:gd name="connsiteY1" fmla="*/ 0 h 6029325"/>
              <a:gd name="connsiteX2" fmla="*/ 11256360 w 11256360"/>
              <a:gd name="connsiteY2" fmla="*/ 6029325 h 6029325"/>
              <a:gd name="connsiteX3" fmla="*/ 0 w 11256360"/>
              <a:gd name="connsiteY3" fmla="*/ 6029325 h 6029325"/>
              <a:gd name="connsiteX4" fmla="*/ 0 w 11256360"/>
              <a:gd name="connsiteY4" fmla="*/ 821280 h 6029325"/>
              <a:gd name="connsiteX5" fmla="*/ 1784517 w 11256360"/>
              <a:gd name="connsiteY5" fmla="*/ 821280 h 6029325"/>
              <a:gd name="connsiteX0" fmla="*/ 1784517 w 11256360"/>
              <a:gd name="connsiteY0" fmla="*/ 821280 h 6029325"/>
              <a:gd name="connsiteX1" fmla="*/ 1784517 w 11256360"/>
              <a:gd name="connsiteY1" fmla="*/ 0 h 6029325"/>
              <a:gd name="connsiteX2" fmla="*/ 11256360 w 11256360"/>
              <a:gd name="connsiteY2" fmla="*/ 0 h 6029325"/>
              <a:gd name="connsiteX3" fmla="*/ 11256360 w 11256360"/>
              <a:gd name="connsiteY3" fmla="*/ 6029325 h 6029325"/>
              <a:gd name="connsiteX4" fmla="*/ 0 w 11256360"/>
              <a:gd name="connsiteY4" fmla="*/ 6029325 h 6029325"/>
              <a:gd name="connsiteX5" fmla="*/ 0 w 11256360"/>
              <a:gd name="connsiteY5" fmla="*/ 821280 h 6029325"/>
              <a:gd name="connsiteX6" fmla="*/ 1875957 w 11256360"/>
              <a:gd name="connsiteY6" fmla="*/ 912720 h 6029325"/>
              <a:gd name="connsiteX0" fmla="*/ 1784517 w 11256360"/>
              <a:gd name="connsiteY0" fmla="*/ 821280 h 6029325"/>
              <a:gd name="connsiteX1" fmla="*/ 1784517 w 11256360"/>
              <a:gd name="connsiteY1" fmla="*/ 0 h 6029325"/>
              <a:gd name="connsiteX2" fmla="*/ 11256360 w 11256360"/>
              <a:gd name="connsiteY2" fmla="*/ 0 h 6029325"/>
              <a:gd name="connsiteX3" fmla="*/ 11256360 w 11256360"/>
              <a:gd name="connsiteY3" fmla="*/ 6029325 h 6029325"/>
              <a:gd name="connsiteX4" fmla="*/ 0 w 11256360"/>
              <a:gd name="connsiteY4" fmla="*/ 6029325 h 6029325"/>
              <a:gd name="connsiteX5" fmla="*/ 0 w 11256360"/>
              <a:gd name="connsiteY5" fmla="*/ 821280 h 6029325"/>
              <a:gd name="connsiteX0" fmla="*/ 1784517 w 11256360"/>
              <a:gd name="connsiteY0" fmla="*/ 0 h 6029325"/>
              <a:gd name="connsiteX1" fmla="*/ 11256360 w 11256360"/>
              <a:gd name="connsiteY1" fmla="*/ 0 h 6029325"/>
              <a:gd name="connsiteX2" fmla="*/ 11256360 w 11256360"/>
              <a:gd name="connsiteY2" fmla="*/ 6029325 h 6029325"/>
              <a:gd name="connsiteX3" fmla="*/ 0 w 11256360"/>
              <a:gd name="connsiteY3" fmla="*/ 6029325 h 6029325"/>
              <a:gd name="connsiteX4" fmla="*/ 0 w 11256360"/>
              <a:gd name="connsiteY4" fmla="*/ 821280 h 602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56360" h="6029325">
                <a:moveTo>
                  <a:pt x="1784517" y="0"/>
                </a:moveTo>
                <a:lnTo>
                  <a:pt x="11256360" y="0"/>
                </a:lnTo>
                <a:lnTo>
                  <a:pt x="11256360" y="6029325"/>
                </a:lnTo>
                <a:lnTo>
                  <a:pt x="0" y="6029325"/>
                </a:lnTo>
                <a:lnTo>
                  <a:pt x="0" y="821280"/>
                </a:lnTo>
              </a:path>
            </a:pathLst>
          </a:custGeom>
          <a:noFill/>
          <a:ln w="127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52</TotalTime>
  <Words>486</Words>
  <Application>Microsoft Office PowerPoint</Application>
  <PresentationFormat>Màn hình rộng</PresentationFormat>
  <Paragraphs>49</Paragraphs>
  <Slides>10</Slides>
  <Notes>9</Notes>
  <HiddenSlides>0</HiddenSlides>
  <MMClips>0</MMClips>
  <ScaleCrop>false</ScaleCrop>
  <HeadingPairs>
    <vt:vector size="8" baseType="variant">
      <vt:variant>
        <vt:lpstr>Phông được Dùng</vt:lpstr>
      </vt:variant>
      <vt:variant>
        <vt:i4>11</vt:i4>
      </vt:variant>
      <vt:variant>
        <vt:lpstr>Chủ đề</vt:lpstr>
      </vt:variant>
      <vt:variant>
        <vt:i4>1</vt:i4>
      </vt:variant>
      <vt:variant>
        <vt:lpstr>Máy chủ nhúng OLE</vt:lpstr>
      </vt:variant>
      <vt:variant>
        <vt:i4>1</vt:i4>
      </vt:variant>
      <vt:variant>
        <vt:lpstr>Tiêu đề Bản chiếu</vt:lpstr>
      </vt:variant>
      <vt:variant>
        <vt:i4>10</vt:i4>
      </vt:variant>
    </vt:vector>
  </HeadingPairs>
  <TitlesOfParts>
    <vt:vector size="23" baseType="lpstr">
      <vt:lpstr>Arial</vt:lpstr>
      <vt:lpstr>Arial</vt:lpstr>
      <vt:lpstr>Calibri</vt:lpstr>
      <vt:lpstr>Century Gothic</vt:lpstr>
      <vt:lpstr>Georgia</vt:lpstr>
      <vt:lpstr>Merriweather</vt:lpstr>
      <vt:lpstr>Poppins-SVN</vt:lpstr>
      <vt:lpstr>Source Sans Pro</vt:lpstr>
      <vt:lpstr>Source Sans Pro Black</vt:lpstr>
      <vt:lpstr>Source Sans Pro Light</vt:lpstr>
      <vt:lpstr>Source Sans Pro Semibold</vt:lpstr>
      <vt:lpstr>Office Theme</vt:lpstr>
      <vt:lpstr>think-cell Slide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Lisa Ni</cp:lastModifiedBy>
  <cp:revision>166</cp:revision>
  <dcterms:created xsi:type="dcterms:W3CDTF">2016-07-06T10:54:59Z</dcterms:created>
  <dcterms:modified xsi:type="dcterms:W3CDTF">2022-11-10T09:57:35Z</dcterms:modified>
</cp:coreProperties>
</file>